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charts/chart1.xml" ContentType="application/vnd.openxmlformats-officedocument.drawingml.chart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0" r:id="rId5"/>
    <p:sldMasterId id="2147483674" r:id="rId6"/>
  </p:sldMasterIdLst>
  <p:notesMasterIdLst>
    <p:notesMasterId r:id="rId26"/>
  </p:notesMasterIdLst>
  <p:handoutMasterIdLst>
    <p:handoutMasterId r:id="rId27"/>
  </p:handoutMasterIdLst>
  <p:sldIdLst>
    <p:sldId id="313" r:id="rId7"/>
    <p:sldId id="314" r:id="rId8"/>
    <p:sldId id="315" r:id="rId9"/>
    <p:sldId id="316" r:id="rId10"/>
    <p:sldId id="317" r:id="rId11"/>
    <p:sldId id="318" r:id="rId12"/>
    <p:sldId id="319" r:id="rId13"/>
    <p:sldId id="320" r:id="rId14"/>
    <p:sldId id="321" r:id="rId15"/>
    <p:sldId id="271" r:id="rId16"/>
    <p:sldId id="303" r:id="rId17"/>
    <p:sldId id="304" r:id="rId18"/>
    <p:sldId id="305" r:id="rId19"/>
    <p:sldId id="306" r:id="rId20"/>
    <p:sldId id="310" r:id="rId21"/>
    <p:sldId id="311" r:id="rId22"/>
    <p:sldId id="312" r:id="rId23"/>
    <p:sldId id="307" r:id="rId24"/>
    <p:sldId id="308" r:id="rId25"/>
  </p:sldIdLst>
  <p:sldSz cx="9906000" cy="6858000" type="A4"/>
  <p:notesSz cx="6797675" cy="9926638"/>
  <p:defaultTextStyle>
    <a:defPPr>
      <a:defRPr lang="ru-RU"/>
    </a:defPPr>
    <a:lvl1pPr marL="0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59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32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480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64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799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962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12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281" algn="l" defTabSz="914321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05B"/>
    <a:srgbClr val="6DA3C0"/>
    <a:srgbClr val="D1E2EB"/>
    <a:srgbClr val="FFFFFF"/>
    <a:srgbClr val="F75931"/>
    <a:srgbClr val="68BBCB"/>
    <a:srgbClr val="FFC072"/>
    <a:srgbClr val="F7593B"/>
    <a:srgbClr val="B3CFDE"/>
    <a:srgbClr val="87A1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599" autoAdjust="0"/>
    <p:restoredTop sz="96271"/>
  </p:normalViewPr>
  <p:slideViewPr>
    <p:cSldViewPr snapToGrid="0">
      <p:cViewPr varScale="1">
        <p:scale>
          <a:sx n="90" d="100"/>
          <a:sy n="90" d="100"/>
        </p:scale>
        <p:origin x="77" y="288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-3168" y="-8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</c:spPr>
          <c:dPt>
            <c:idx val="0"/>
            <c:bubble3D val="0"/>
            <c:spPr>
              <a:solidFill>
                <a:schemeClr val="bg1">
                  <a:lumMod val="50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FD20-49AE-BC40-AEDDED7D1FD1}"/>
              </c:ext>
            </c:extLst>
          </c:dPt>
          <c:cat>
            <c:strRef>
              <c:f>Лист1!$A$2:$A$3</c:f>
              <c:strCache>
                <c:ptCount val="2"/>
                <c:pt idx="0">
                  <c:v>Бюджетные средства</c:v>
                </c:pt>
                <c:pt idx="1">
                  <c:v>Внебюджетные средства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74</c:v>
                </c:pt>
                <c:pt idx="1">
                  <c:v>38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FD20-49AE-BC40-AEDDED7D1F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0C4BAA-E369-44AD-87C0-64F34E7C73DA}" type="datetimeFigureOut">
              <a:rPr lang="ru-RU" smtClean="0"/>
              <a:pPr/>
              <a:t>21.06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B2E880-491A-4E3B-8D0D-90D32A07181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91235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3BA728-D73C-E140-8099-AC13A4281303}" type="datetimeFigureOut">
              <a:rPr lang="ru-RU" smtClean="0"/>
              <a:pPr/>
              <a:t>21.06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CD2A862-1F40-B349-91D5-3B9B128B79E4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599321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59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2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480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64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799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62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2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81" algn="l" defTabSz="914321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D2A862-1F40-B349-91D5-3B9B128B79E4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0399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81075" y="1241425"/>
            <a:ext cx="48355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DCE24B-A888-534F-AD8F-E9B32620B190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9117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C:\Users\SmartDesign\YandexDisk\!NTI\DOCS\Presentation template\cover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15180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7847" y="2847060"/>
            <a:ext cx="5785759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000" b="0" i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7847" y="4429134"/>
            <a:ext cx="5785759" cy="1314450"/>
          </a:xfrm>
          <a:prstGeom prst="rect">
            <a:avLst/>
          </a:prstGeom>
        </p:spPr>
        <p:txBody>
          <a:bodyPr lIns="91433" tIns="45716" rIns="91433" bIns="45716">
            <a:normAutofit/>
          </a:bodyPr>
          <a:lstStyle>
            <a:lvl1pPr marL="0" indent="0" algn="l">
              <a:buNone/>
              <a:defRPr sz="1800" b="0" i="0">
                <a:solidFill>
                  <a:schemeClr val="bg2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57159" indent="0" algn="ctr">
              <a:buNone/>
              <a:defRPr sz="2000"/>
            </a:lvl2pPr>
            <a:lvl3pPr marL="914321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1" indent="0" algn="ctr">
              <a:buNone/>
              <a:defRPr sz="1600"/>
            </a:lvl5pPr>
            <a:lvl6pPr marL="2285799" indent="0" algn="ctr">
              <a:buNone/>
              <a:defRPr sz="1600"/>
            </a:lvl6pPr>
            <a:lvl7pPr marL="2742962" indent="0" algn="ctr">
              <a:buNone/>
              <a:defRPr sz="1600"/>
            </a:lvl7pPr>
            <a:lvl8pPr marL="3200121" indent="0" algn="ctr">
              <a:buNone/>
              <a:defRPr sz="1600"/>
            </a:lvl8pPr>
            <a:lvl9pPr marL="3657281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67252" y="6416684"/>
            <a:ext cx="3688983" cy="365125"/>
          </a:xfr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234664" y="6416678"/>
            <a:ext cx="2709082" cy="8"/>
            <a:chOff x="658813" y="800103"/>
            <a:chExt cx="3334254" cy="8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Группа 24"/>
          <p:cNvGrpSpPr/>
          <p:nvPr userDrawn="1"/>
        </p:nvGrpSpPr>
        <p:grpSpPr>
          <a:xfrm>
            <a:off x="242487" y="4303832"/>
            <a:ext cx="2709082" cy="8"/>
            <a:chOff x="658813" y="800103"/>
            <a:chExt cx="3334254" cy="8"/>
          </a:xfrm>
        </p:grpSpPr>
        <p:cxnSp>
          <p:nvCxnSpPr>
            <p:cNvPr id="26" name="Прямая соединительная линия 25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72099541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pos="7151">
          <p15:clr>
            <a:srgbClr val="FBAE40"/>
          </p15:clr>
        </p15:guide>
        <p15:guide id="3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orient="horz" pos="25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156156"/>
            <a:ext cx="8721437" cy="5041446"/>
          </a:xfrm>
        </p:spPr>
        <p:txBody>
          <a:bodyPr/>
          <a:lstStyle>
            <a:lvl1pPr marL="330642" indent="-330642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184" indent="-274432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34" indent="-221529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698" indent="-209957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 marL="1889612" indent="-209957">
              <a:buFont typeface="Arial" panose="020B0604020202020204" pitchFamily="34" charset="0"/>
              <a:buChar char="•"/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1.06.2019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802909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938" indent="0" algn="ctr">
              <a:buNone/>
              <a:defRPr sz="1800"/>
            </a:lvl2pPr>
            <a:lvl3pPr marL="839876" indent="0" algn="ctr">
              <a:buNone/>
              <a:defRPr sz="1700"/>
            </a:lvl3pPr>
            <a:lvl4pPr marL="1259815" indent="0" algn="ctr">
              <a:buNone/>
              <a:defRPr sz="1500"/>
            </a:lvl4pPr>
            <a:lvl5pPr marL="1679753" indent="0" algn="ctr">
              <a:buNone/>
              <a:defRPr sz="1500"/>
            </a:lvl5pPr>
            <a:lvl6pPr marL="2099691" indent="0" algn="ctr">
              <a:buNone/>
              <a:defRPr sz="1500"/>
            </a:lvl6pPr>
            <a:lvl7pPr marL="2519629" indent="0" algn="ctr">
              <a:buNone/>
              <a:defRPr sz="1500"/>
            </a:lvl7pPr>
            <a:lvl8pPr marL="2939567" indent="0" algn="ctr">
              <a:buNone/>
              <a:defRPr sz="1500"/>
            </a:lvl8pPr>
            <a:lvl9pPr marL="3359506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1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680631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84159505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736727"/>
            <a:ext cx="8721437" cy="4351338"/>
          </a:xfrm>
        </p:spPr>
        <p:txBody>
          <a:bodyPr/>
          <a:lstStyle>
            <a:lvl1pPr marL="330660" indent="-330660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226" indent="-274448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98" indent="-221542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784" indent="-209969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1.06.2019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1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66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931720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7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5" y="1156156"/>
            <a:ext cx="8721437" cy="5041446"/>
          </a:xfrm>
        </p:spPr>
        <p:txBody>
          <a:bodyPr/>
          <a:lstStyle>
            <a:lvl1pPr marL="330660" indent="-330660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226" indent="-274448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98" indent="-221542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784" indent="-209969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 marL="1889722" indent="-209969">
              <a:buFont typeface="Arial" panose="020B0604020202020204" pitchFamily="34" charset="0"/>
              <a:buChar char="•"/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1.06.2019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3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4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10"/>
          <p:cNvGrpSpPr/>
          <p:nvPr userDrawn="1"/>
        </p:nvGrpSpPr>
        <p:grpSpPr>
          <a:xfrm>
            <a:off x="8723399" y="6426967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7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213923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9" name="Picture 5" descr="C:\Users\SmartDesign\YandexDisk\!NTI\DOCS\Presentation template\cover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15180" cy="6858000"/>
          </a:xfrm>
          <a:prstGeom prst="rect">
            <a:avLst/>
          </a:prstGeom>
          <a:noFill/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95" y="575135"/>
            <a:ext cx="3460022" cy="1003406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7847" y="2847060"/>
            <a:ext cx="5785759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000" b="0" i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7847" y="4429134"/>
            <a:ext cx="5785759" cy="1314450"/>
          </a:xfrm>
          <a:prstGeom prst="rect">
            <a:avLst/>
          </a:prstGeom>
        </p:spPr>
        <p:txBody>
          <a:bodyPr lIns="91433" tIns="45716" rIns="91433" bIns="45716">
            <a:normAutofit/>
          </a:bodyPr>
          <a:lstStyle>
            <a:lvl1pPr marL="0" indent="0" algn="l">
              <a:buNone/>
              <a:defRPr sz="1800" b="0" i="0">
                <a:solidFill>
                  <a:schemeClr val="bg2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57159" indent="0" algn="ctr">
              <a:buNone/>
              <a:defRPr sz="2000"/>
            </a:lvl2pPr>
            <a:lvl3pPr marL="914321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1" indent="0" algn="ctr">
              <a:buNone/>
              <a:defRPr sz="1600"/>
            </a:lvl5pPr>
            <a:lvl6pPr marL="2285799" indent="0" algn="ctr">
              <a:buNone/>
              <a:defRPr sz="1600"/>
            </a:lvl6pPr>
            <a:lvl7pPr marL="2742962" indent="0" algn="ctr">
              <a:buNone/>
              <a:defRPr sz="1600"/>
            </a:lvl7pPr>
            <a:lvl8pPr marL="3200121" indent="0" algn="ctr">
              <a:buNone/>
              <a:defRPr sz="1600"/>
            </a:lvl8pPr>
            <a:lvl9pPr marL="3657281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67252" y="6416684"/>
            <a:ext cx="3688983" cy="365125"/>
          </a:xfr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234664" y="6416678"/>
            <a:ext cx="2709082" cy="8"/>
            <a:chOff x="658813" y="800103"/>
            <a:chExt cx="3334254" cy="8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5" name="Группа 24"/>
          <p:cNvGrpSpPr/>
          <p:nvPr userDrawn="1"/>
        </p:nvGrpSpPr>
        <p:grpSpPr>
          <a:xfrm>
            <a:off x="242487" y="4303832"/>
            <a:ext cx="2709082" cy="8"/>
            <a:chOff x="658813" y="800103"/>
            <a:chExt cx="3334254" cy="8"/>
          </a:xfrm>
        </p:grpSpPr>
        <p:cxnSp>
          <p:nvCxnSpPr>
            <p:cNvPr id="26" name="Прямая соединительная линия 25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Прямая соединительная линия 26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9890628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pos="7151">
          <p15:clr>
            <a:srgbClr val="FBAE40"/>
          </p15:clr>
        </p15:guide>
        <p15:guide id="3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orient="horz" pos="255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Титульный слайд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C:\Users\SmartDesign\YandexDisk\!NTI\DOCS\Presentation template\cover2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15180" cy="6858000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26504" y="2292517"/>
            <a:ext cx="5785759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4000" b="0" i="0">
                <a:solidFill>
                  <a:schemeClr val="bg2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26504" y="3874586"/>
            <a:ext cx="5785759" cy="1314450"/>
          </a:xfrm>
          <a:prstGeom prst="rect">
            <a:avLst/>
          </a:prstGeom>
        </p:spPr>
        <p:txBody>
          <a:bodyPr lIns="91433" tIns="45716" rIns="91433" bIns="45716">
            <a:normAutofit/>
          </a:bodyPr>
          <a:lstStyle>
            <a:lvl1pPr marL="0" indent="0" algn="l">
              <a:lnSpc>
                <a:spcPct val="150000"/>
              </a:lnSpc>
              <a:buNone/>
              <a:defRPr sz="1400" b="0" i="0">
                <a:solidFill>
                  <a:schemeClr val="bg2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57159" indent="0" algn="ctr">
              <a:buNone/>
              <a:defRPr sz="2000"/>
            </a:lvl2pPr>
            <a:lvl3pPr marL="914321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1" indent="0" algn="ctr">
              <a:buNone/>
              <a:defRPr sz="1600"/>
            </a:lvl5pPr>
            <a:lvl6pPr marL="2285799" indent="0" algn="ctr">
              <a:buNone/>
              <a:defRPr sz="1600"/>
            </a:lvl6pPr>
            <a:lvl7pPr marL="2742962" indent="0" algn="ctr">
              <a:buNone/>
              <a:defRPr sz="1600"/>
            </a:lvl7pPr>
            <a:lvl8pPr marL="3200121" indent="0" algn="ctr">
              <a:buNone/>
              <a:defRPr sz="1600"/>
            </a:lvl8pPr>
            <a:lvl9pPr marL="3657281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167252" y="6416684"/>
            <a:ext cx="3688983" cy="365125"/>
          </a:xfrm>
        </p:spPr>
        <p:txBody>
          <a:bodyPr/>
          <a:lstStyle>
            <a:lvl1pPr algn="l">
              <a:defRPr b="0" i="0">
                <a:solidFill>
                  <a:schemeClr val="bg2"/>
                </a:solidFill>
                <a:latin typeface="+mj-lt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17" name="Группа 16"/>
          <p:cNvGrpSpPr/>
          <p:nvPr userDrawn="1"/>
        </p:nvGrpSpPr>
        <p:grpSpPr>
          <a:xfrm>
            <a:off x="234664" y="6416678"/>
            <a:ext cx="2709082" cy="8"/>
            <a:chOff x="658813" y="800103"/>
            <a:chExt cx="3334254" cy="8"/>
          </a:xfrm>
        </p:grpSpPr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658814" y="800110"/>
              <a:ext cx="3334253" cy="1"/>
            </a:xfrm>
            <a:prstGeom prst="line">
              <a:avLst/>
            </a:prstGeom>
            <a:ln>
              <a:solidFill>
                <a:srgbClr val="FFFFFF">
                  <a:alpha val="29804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658813" y="800103"/>
              <a:ext cx="648204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Рисунок 6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595" y="575135"/>
            <a:ext cx="3460022" cy="10034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09259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pos="7491">
          <p15:clr>
            <a:srgbClr val="FBAE40"/>
          </p15:clr>
        </p15:guide>
        <p15:guide id="3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orient="horz" pos="25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58421" y="222474"/>
            <a:ext cx="2205226" cy="407095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718" y="81662"/>
            <a:ext cx="7243148" cy="662780"/>
          </a:xfrm>
        </p:spPr>
        <p:txBody>
          <a:bodyPr>
            <a:normAutofit/>
          </a:bodyPr>
          <a:lstStyle>
            <a:lvl1pPr>
              <a:defRPr sz="2400" b="1" cap="all" baseline="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573152" y="6387859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64C4C8B2-C7A6-0847-A9D3-11E90A4CEB8E}" type="datetime3">
              <a:rPr lang="ru-RU" smtClean="0"/>
              <a:pPr/>
              <a:t>21/06/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2026" y="6412492"/>
            <a:ext cx="3661952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243786" y="744448"/>
            <a:ext cx="9418439" cy="5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9" y="6426965"/>
            <a:ext cx="677582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7" name="Группа 66"/>
          <p:cNvGrpSpPr/>
          <p:nvPr userDrawn="1"/>
        </p:nvGrpSpPr>
        <p:grpSpPr>
          <a:xfrm>
            <a:off x="8999098" y="6426965"/>
            <a:ext cx="677582" cy="4"/>
            <a:chOff x="658813" y="800103"/>
            <a:chExt cx="833946" cy="4"/>
          </a:xfrm>
        </p:grpSpPr>
        <p:cxnSp>
          <p:nvCxnSpPr>
            <p:cNvPr id="68" name="Прямая соединительная линия 67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Прямая соединительная линия 68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/>
          <p:cNvGrpSpPr/>
          <p:nvPr userDrawn="1"/>
        </p:nvGrpSpPr>
        <p:grpSpPr>
          <a:xfrm>
            <a:off x="238413" y="6336256"/>
            <a:ext cx="144523" cy="177875"/>
            <a:chOff x="8326225" y="81662"/>
            <a:chExt cx="334824" cy="334824"/>
          </a:xfrm>
        </p:grpSpPr>
        <p:cxnSp>
          <p:nvCxnSpPr>
            <p:cNvPr id="33" name="Прямая соединительная линия 32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Объект 2"/>
          <p:cNvSpPr>
            <a:spLocks noGrp="1"/>
          </p:cNvSpPr>
          <p:nvPr>
            <p:ph idx="13"/>
          </p:nvPr>
        </p:nvSpPr>
        <p:spPr>
          <a:xfrm>
            <a:off x="595285" y="1003854"/>
            <a:ext cx="9071231" cy="5179235"/>
          </a:xfrm>
          <a:prstGeom prst="rect">
            <a:avLst/>
          </a:prstGeom>
        </p:spPr>
        <p:txBody>
          <a:bodyPr lIns="91433" tIns="45716" rIns="91433" bIns="45716"/>
          <a:lstStyle>
            <a:lvl1pPr marL="359968" indent="-359968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1pPr>
            <a:lvl2pPr marL="777531" indent="-298774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SzPct val="100000"/>
              <a:buFont typeface="Calibri Light" panose="020F0302020204030204" pitchFamily="34" charset="0"/>
              <a:buChar char="-"/>
              <a:defRPr sz="18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2pPr>
            <a:lvl3pPr marL="1198698" indent="-241179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3pPr>
            <a:lvl4pPr marL="1600062" indent="-22858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4pPr>
            <a:lvl5pPr>
              <a:defRPr sz="1400" b="0" i="0">
                <a:solidFill>
                  <a:schemeClr val="tx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332777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717" y="81662"/>
            <a:ext cx="6758866" cy="662780"/>
          </a:xfrm>
        </p:spPr>
        <p:txBody>
          <a:bodyPr>
            <a:normAutofit/>
          </a:bodyPr>
          <a:lstStyle>
            <a:lvl1pPr>
              <a:defRPr sz="1800"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92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F2C1B029-9E10-C346-9A1F-18C74CB5FF55}" type="datetime3">
              <a:rPr lang="ru-RU" smtClean="0"/>
              <a:pPr/>
              <a:t>21/06/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999176" y="6412492"/>
            <a:ext cx="3907652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243786" y="744448"/>
            <a:ext cx="9418439" cy="5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31" y="6426965"/>
            <a:ext cx="677582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Группа 63"/>
          <p:cNvGrpSpPr/>
          <p:nvPr userDrawn="1"/>
        </p:nvGrpSpPr>
        <p:grpSpPr>
          <a:xfrm>
            <a:off x="238418" y="6336256"/>
            <a:ext cx="144523" cy="177875"/>
            <a:chOff x="8326225" y="81662"/>
            <a:chExt cx="334824" cy="334824"/>
          </a:xfrm>
        </p:grpSpPr>
        <p:cxnSp>
          <p:nvCxnSpPr>
            <p:cNvPr id="65" name="Прямая соединительная линия 64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 w="6350"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 w="6350"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2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3" name="Группа 32"/>
          <p:cNvGrpSpPr/>
          <p:nvPr userDrawn="1"/>
        </p:nvGrpSpPr>
        <p:grpSpPr>
          <a:xfrm>
            <a:off x="8999098" y="6426965"/>
            <a:ext cx="677582" cy="4"/>
            <a:chOff x="658813" y="800103"/>
            <a:chExt cx="833946" cy="4"/>
          </a:xfrm>
        </p:grpSpPr>
        <p:cxnSp>
          <p:nvCxnSpPr>
            <p:cNvPr id="34" name="Прямая соединительная линия 33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0" name="Группа 19"/>
          <p:cNvGrpSpPr/>
          <p:nvPr userDrawn="1"/>
        </p:nvGrpSpPr>
        <p:grpSpPr>
          <a:xfrm rot="16200000">
            <a:off x="-1052421" y="4651835"/>
            <a:ext cx="3587342" cy="3546706"/>
            <a:chOff x="8460884" y="1554870"/>
            <a:chExt cx="2927825" cy="2924363"/>
          </a:xfrm>
        </p:grpSpPr>
        <p:grpSp>
          <p:nvGrpSpPr>
            <p:cNvPr id="21" name="Группа 20"/>
            <p:cNvGrpSpPr/>
            <p:nvPr/>
          </p:nvGrpSpPr>
          <p:grpSpPr>
            <a:xfrm rot="16200000">
              <a:off x="8466345" y="1556869"/>
              <a:ext cx="2922367" cy="2922361"/>
              <a:chOff x="7863929" y="3622127"/>
              <a:chExt cx="2046266" cy="2046262"/>
            </a:xfrm>
          </p:grpSpPr>
          <p:sp>
            <p:nvSpPr>
              <p:cNvPr id="23" name="Дуга 22"/>
              <p:cNvSpPr/>
              <p:nvPr/>
            </p:nvSpPr>
            <p:spPr>
              <a:xfrm rot="16200000">
                <a:off x="7977159" y="3733956"/>
                <a:ext cx="1821325" cy="1821323"/>
              </a:xfrm>
              <a:prstGeom prst="arc">
                <a:avLst>
                  <a:gd name="adj1" fmla="val 16200000"/>
                  <a:gd name="adj2" fmla="val 13155040"/>
                </a:avLst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24" name="Дуга 23"/>
              <p:cNvSpPr/>
              <p:nvPr/>
            </p:nvSpPr>
            <p:spPr>
              <a:xfrm>
                <a:off x="7863929" y="3622127"/>
                <a:ext cx="2046266" cy="2046262"/>
              </a:xfrm>
              <a:prstGeom prst="arc">
                <a:avLst>
                  <a:gd name="adj1" fmla="val 187966"/>
                  <a:gd name="adj2" fmla="val 5413874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22" name="Дуга 21"/>
            <p:cNvSpPr/>
            <p:nvPr/>
          </p:nvSpPr>
          <p:spPr>
            <a:xfrm rot="16200000">
              <a:off x="8460881" y="1554873"/>
              <a:ext cx="2922367" cy="2922361"/>
            </a:xfrm>
            <a:prstGeom prst="arc">
              <a:avLst>
                <a:gd name="adj1" fmla="val 10333065"/>
                <a:gd name="adj2" fmla="val 11778475"/>
              </a:avLst>
            </a:prstGeom>
            <a:ln w="19050">
              <a:solidFill>
                <a:srgbClr val="F7593B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1" name="Группа 30"/>
          <p:cNvGrpSpPr/>
          <p:nvPr userDrawn="1"/>
        </p:nvGrpSpPr>
        <p:grpSpPr>
          <a:xfrm rot="3669653">
            <a:off x="6967762" y="-1621987"/>
            <a:ext cx="3983556" cy="3904761"/>
            <a:chOff x="8441527" y="1532044"/>
            <a:chExt cx="2972003" cy="2972008"/>
          </a:xfrm>
        </p:grpSpPr>
        <p:grpSp>
          <p:nvGrpSpPr>
            <p:cNvPr id="36" name="Группа 35"/>
            <p:cNvGrpSpPr/>
            <p:nvPr/>
          </p:nvGrpSpPr>
          <p:grpSpPr>
            <a:xfrm rot="16200000">
              <a:off x="8441525" y="1532046"/>
              <a:ext cx="2972008" cy="2972003"/>
              <a:chOff x="7846550" y="3604748"/>
              <a:chExt cx="2081025" cy="2081022"/>
            </a:xfrm>
          </p:grpSpPr>
          <p:sp>
            <p:nvSpPr>
              <p:cNvPr id="38" name="Дуга 37"/>
              <p:cNvSpPr/>
              <p:nvPr/>
            </p:nvSpPr>
            <p:spPr>
              <a:xfrm rot="16200000">
                <a:off x="7977159" y="3733956"/>
                <a:ext cx="1821325" cy="1821323"/>
              </a:xfrm>
              <a:prstGeom prst="arc">
                <a:avLst>
                  <a:gd name="adj1" fmla="val 15511543"/>
                  <a:gd name="adj2" fmla="val 7948573"/>
                </a:avLst>
              </a:prstGeom>
              <a:ln>
                <a:solidFill>
                  <a:schemeClr val="bg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sp>
            <p:nvSpPr>
              <p:cNvPr id="39" name="Дуга 38"/>
              <p:cNvSpPr/>
              <p:nvPr/>
            </p:nvSpPr>
            <p:spPr>
              <a:xfrm>
                <a:off x="7846550" y="3604748"/>
                <a:ext cx="2081025" cy="2081022"/>
              </a:xfrm>
              <a:prstGeom prst="arc">
                <a:avLst>
                  <a:gd name="adj1" fmla="val 11539827"/>
                  <a:gd name="adj2" fmla="val 2979785"/>
                </a:avLst>
              </a:prstGeom>
              <a:ln w="19050">
                <a:solidFill>
                  <a:srgbClr val="F7593B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37" name="Дуга 36"/>
            <p:cNvSpPr/>
            <p:nvPr/>
          </p:nvSpPr>
          <p:spPr>
            <a:xfrm rot="16200000">
              <a:off x="8535410" y="1629401"/>
              <a:ext cx="2773306" cy="2773305"/>
            </a:xfrm>
            <a:prstGeom prst="arc">
              <a:avLst>
                <a:gd name="adj1" fmla="val 7125492"/>
                <a:gd name="adj2" fmla="val 12995242"/>
              </a:avLst>
            </a:prstGeom>
            <a:ln w="3175"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40" name="Дуга 39"/>
          <p:cNvSpPr/>
          <p:nvPr userDrawn="1"/>
        </p:nvSpPr>
        <p:spPr>
          <a:xfrm rot="14469653">
            <a:off x="7147272" y="-1247555"/>
            <a:ext cx="3450432" cy="3275760"/>
          </a:xfrm>
          <a:prstGeom prst="arc">
            <a:avLst>
              <a:gd name="adj1" fmla="val 7994092"/>
              <a:gd name="adj2" fmla="val 10846091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91433" tIns="45716" rIns="91433" bIns="45716" rtlCol="0" anchor="ctr"/>
          <a:lstStyle/>
          <a:p>
            <a:pPr algn="ctr"/>
            <a:endParaRPr lang="ru-RU"/>
          </a:p>
        </p:txBody>
      </p:sp>
      <p:pic>
        <p:nvPicPr>
          <p:cNvPr id="44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58421" y="222474"/>
            <a:ext cx="2205226" cy="407095"/>
          </a:xfrm>
          <a:prstGeom prst="rect">
            <a:avLst/>
          </a:prstGeom>
        </p:spPr>
      </p:pic>
      <p:sp>
        <p:nvSpPr>
          <p:cNvPr id="41" name="Объект 2"/>
          <p:cNvSpPr>
            <a:spLocks noGrp="1"/>
          </p:cNvSpPr>
          <p:nvPr>
            <p:ph idx="13"/>
          </p:nvPr>
        </p:nvSpPr>
        <p:spPr>
          <a:xfrm>
            <a:off x="595285" y="1003854"/>
            <a:ext cx="9071231" cy="5179235"/>
          </a:xfrm>
          <a:prstGeom prst="rect">
            <a:avLst/>
          </a:prstGeom>
        </p:spPr>
        <p:txBody>
          <a:bodyPr lIns="91433" tIns="45716" rIns="91433" bIns="45716"/>
          <a:lstStyle>
            <a:lvl1pPr marL="359968" indent="-359968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1pPr>
            <a:lvl2pPr marL="777531" indent="-298774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SzPct val="100000"/>
              <a:buFont typeface="Calibri Light" panose="020F0302020204030204" pitchFamily="34" charset="0"/>
              <a:buChar char="-"/>
              <a:defRPr sz="1800" b="0" i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2pPr>
            <a:lvl3pPr marL="1198698" indent="-241179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3pPr>
            <a:lvl4pPr marL="1600062" indent="-22858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4pPr>
            <a:lvl5pPr>
              <a:defRPr sz="1400" b="0" i="0"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737184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  <p15:guide id="7" orient="horz" pos="164" userDrawn="1">
          <p15:clr>
            <a:srgbClr val="FBAE40"/>
          </p15:clr>
        </p15:guide>
        <p15:guide id="8" orient="horz" pos="255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56152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  <p15:guide id="7" orient="horz" pos="164" userDrawn="1">
          <p15:clr>
            <a:srgbClr val="FBAE40"/>
          </p15:clr>
        </p15:guide>
        <p15:guide id="8" orient="horz" pos="255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 descr="C:\Users\SmartDesign\YandexDisk\!NTI\DOCS\Presentation template\cover3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915180" cy="6858000"/>
          </a:xfrm>
          <a:prstGeom prst="rect">
            <a:avLst/>
          </a:prstGeom>
          <a:noFill/>
        </p:spPr>
      </p:pic>
      <p:pic>
        <p:nvPicPr>
          <p:cNvPr id="27" name="Picture 2" descr="C:\Users\SmartDesign\YandexDisk\!NTI\brand\Logo_NTI_main_horiz_white.png"/>
          <p:cNvPicPr>
            <a:picLocks noChangeAspect="1" noChangeArrowheads="1"/>
          </p:cNvPicPr>
          <p:nvPr userDrawn="1"/>
        </p:nvPicPr>
        <p:blipFill>
          <a:blip r:embed="rId3" cstate="print"/>
          <a:srcRect b="38506"/>
          <a:stretch>
            <a:fillRect/>
          </a:stretch>
        </p:blipFill>
        <p:spPr bwMode="auto">
          <a:xfrm>
            <a:off x="7466015" y="219077"/>
            <a:ext cx="2198759" cy="392112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718" y="81662"/>
            <a:ext cx="7243148" cy="662780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92"/>
            <a:ext cx="2228850" cy="36512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61A240FD-504F-2D42-9CC6-D4BE4AAAA351}" type="datetime3">
              <a:rPr lang="ru-RU" smtClean="0"/>
              <a:pPr/>
              <a:t>21/06/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00109" y="6412492"/>
            <a:ext cx="390579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ru-RU" dirty="0" smtClean="0"/>
              <a:t>2016 © Национальная технологическая инициатива</a:t>
            </a:r>
            <a:endParaRPr lang="ru-RU" dirty="0"/>
          </a:p>
        </p:txBody>
      </p:sp>
      <p:grpSp>
        <p:nvGrpSpPr>
          <p:cNvPr id="6" name="Группа 6"/>
          <p:cNvGrpSpPr/>
          <p:nvPr userDrawn="1"/>
        </p:nvGrpSpPr>
        <p:grpSpPr>
          <a:xfrm>
            <a:off x="243786" y="744448"/>
            <a:ext cx="9418439" cy="5"/>
            <a:chOff x="658813" y="800101"/>
            <a:chExt cx="11591925" cy="5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1"/>
              <a:ext cx="11591924" cy="5"/>
            </a:xfrm>
            <a:prstGeom prst="line">
              <a:avLst/>
            </a:prstGeom>
            <a:ln>
              <a:solidFill>
                <a:schemeClr val="bg1">
                  <a:alpha val="6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Группа 13"/>
          <p:cNvGrpSpPr/>
          <p:nvPr userDrawn="1"/>
        </p:nvGrpSpPr>
        <p:grpSpPr>
          <a:xfrm>
            <a:off x="687131" y="6426965"/>
            <a:ext cx="677582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alpha val="60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bg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Группа 60"/>
          <p:cNvGrpSpPr/>
          <p:nvPr userDrawn="1"/>
        </p:nvGrpSpPr>
        <p:grpSpPr>
          <a:xfrm>
            <a:off x="9663840" y="192739"/>
            <a:ext cx="144523" cy="177875"/>
            <a:chOff x="8326225" y="81662"/>
            <a:chExt cx="334824" cy="334824"/>
          </a:xfrm>
        </p:grpSpPr>
        <p:cxnSp>
          <p:nvCxnSpPr>
            <p:cNvPr id="62" name="Прямая соединительная линия 61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Группа 63"/>
          <p:cNvGrpSpPr/>
          <p:nvPr userDrawn="1"/>
        </p:nvGrpSpPr>
        <p:grpSpPr>
          <a:xfrm>
            <a:off x="238413" y="6323556"/>
            <a:ext cx="144523" cy="177875"/>
            <a:chOff x="8326225" y="81662"/>
            <a:chExt cx="334824" cy="334824"/>
          </a:xfrm>
        </p:grpSpPr>
        <p:cxnSp>
          <p:nvCxnSpPr>
            <p:cNvPr id="65" name="Прямая соединительная линия 64"/>
            <p:cNvCxnSpPr/>
            <p:nvPr userDrawn="1"/>
          </p:nvCxnSpPr>
          <p:spPr>
            <a:xfrm>
              <a:off x="8493637" y="81662"/>
              <a:ext cx="0" cy="33482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/>
            <p:nvPr userDrawn="1"/>
          </p:nvCxnSpPr>
          <p:spPr>
            <a:xfrm rot="5400000" flipV="1">
              <a:off x="8493637" y="81662"/>
              <a:ext cx="0" cy="334824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428034" y="6412492"/>
            <a:ext cx="2228850" cy="365125"/>
          </a:xfrm>
        </p:spPr>
        <p:txBody>
          <a:bodyPr/>
          <a:lstStyle>
            <a:lvl1pPr>
              <a:defRPr b="0" i="0">
                <a:solidFill>
                  <a:schemeClr val="bg1"/>
                </a:solidFill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12" name="Группа 36"/>
          <p:cNvGrpSpPr/>
          <p:nvPr userDrawn="1"/>
        </p:nvGrpSpPr>
        <p:grpSpPr>
          <a:xfrm>
            <a:off x="8999098" y="6426965"/>
            <a:ext cx="677582" cy="4"/>
            <a:chOff x="658813" y="800103"/>
            <a:chExt cx="833946" cy="4"/>
          </a:xfrm>
        </p:grpSpPr>
        <p:cxnSp>
          <p:nvCxnSpPr>
            <p:cNvPr id="39" name="Прямая соединительная линия 38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rgbClr val="FFFFFF">
                  <a:alpha val="60000"/>
                </a:srgb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rgbClr val="FFFFFF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8" name="Объект 2"/>
          <p:cNvSpPr>
            <a:spLocks noGrp="1"/>
          </p:cNvSpPr>
          <p:nvPr>
            <p:ph idx="13"/>
          </p:nvPr>
        </p:nvSpPr>
        <p:spPr>
          <a:xfrm>
            <a:off x="595285" y="1831237"/>
            <a:ext cx="9071231" cy="4351849"/>
          </a:xfrm>
          <a:prstGeom prst="rect">
            <a:avLst/>
          </a:prstGeom>
        </p:spPr>
        <p:txBody>
          <a:bodyPr lIns="91433" tIns="45716" rIns="91433" bIns="45716"/>
          <a:lstStyle>
            <a:lvl1pPr marL="359968" indent="-359968">
              <a:lnSpc>
                <a:spcPct val="100000"/>
              </a:lnSpc>
              <a:spcBef>
                <a:spcPts val="0"/>
              </a:spcBef>
              <a:spcAft>
                <a:spcPts val="1207"/>
              </a:spcAft>
              <a:buFont typeface="Arial" panose="020B0604020202020204" pitchFamily="34" charset="0"/>
              <a:buChar char="•"/>
              <a:defRPr sz="2000" b="0" i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1pPr>
            <a:lvl2pPr marL="777531" indent="-298774">
              <a:lnSpc>
                <a:spcPct val="100000"/>
              </a:lnSpc>
              <a:spcBef>
                <a:spcPts val="0"/>
              </a:spcBef>
              <a:spcAft>
                <a:spcPts val="1006"/>
              </a:spcAft>
              <a:buSzPct val="100000"/>
              <a:buFont typeface="Calibri Light" panose="020F0302020204030204" pitchFamily="34" charset="0"/>
              <a:buChar char="-"/>
              <a:defRPr sz="1800" b="0" i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2pPr>
            <a:lvl3pPr marL="1198698" indent="-241179">
              <a:spcBef>
                <a:spcPts val="0"/>
              </a:spcBef>
              <a:spcAft>
                <a:spcPts val="905"/>
              </a:spcAft>
              <a:buSzPct val="85000"/>
              <a:buFont typeface="Wingdings" panose="05000000000000000000" pitchFamily="2" charset="2"/>
              <a:buChar char="§"/>
              <a:defRPr sz="1600" b="0" i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3pPr>
            <a:lvl4pPr marL="1600062" indent="-228581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400" b="0" i="0" baseline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4pPr>
            <a:lvl5pPr>
              <a:defRPr sz="1400" b="0" i="0">
                <a:solidFill>
                  <a:schemeClr val="bg1"/>
                </a:solidFill>
                <a:latin typeface="Calibri Light" pitchFamily="34" charset="0"/>
                <a:ea typeface="Calibri Light" pitchFamily="34" charset="0"/>
                <a:cs typeface="Calibri Light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8806793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>
          <p15:clr>
            <a:srgbClr val="FBAE40"/>
          </p15:clr>
        </p15:guide>
        <p15:guide id="2" orient="horz" pos="4042">
          <p15:clr>
            <a:srgbClr val="FBAE40"/>
          </p15:clr>
        </p15:guide>
        <p15:guide id="3" pos="7151">
          <p15:clr>
            <a:srgbClr val="FBAE40"/>
          </p15:clr>
        </p15:guide>
        <p15:guide id="4" pos="189">
          <p15:clr>
            <a:srgbClr val="FBAE40"/>
          </p15:clr>
        </p15:guide>
        <p15:guide id="5" pos="7491">
          <p15:clr>
            <a:srgbClr val="FBAE40"/>
          </p15:clr>
        </p15:guide>
        <p15:guide id="6" orient="horz" pos="30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81690" y="2847059"/>
            <a:ext cx="8641984" cy="1456767"/>
          </a:xfrm>
        </p:spPr>
        <p:txBody>
          <a:bodyPr anchor="t">
            <a:normAutofit/>
          </a:bodyPr>
          <a:lstStyle>
            <a:lvl1pPr algn="l">
              <a:lnSpc>
                <a:spcPct val="100000"/>
              </a:lnSpc>
              <a:defRPr sz="3700" b="0" i="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581690" y="4429134"/>
            <a:ext cx="8641984" cy="1314450"/>
          </a:xfrm>
        </p:spPr>
        <p:txBody>
          <a:bodyPr>
            <a:normAutofit/>
          </a:bodyPr>
          <a:lstStyle>
            <a:lvl1pPr marL="0" indent="0" algn="l">
              <a:buNone/>
              <a:defRPr sz="1700" b="0" i="0">
                <a:solidFill>
                  <a:schemeClr val="tx1"/>
                </a:solidFill>
                <a:latin typeface="+mj-lt"/>
                <a:ea typeface="Chevin Pro Thin" charset="0"/>
                <a:cs typeface="Chevin Pro Thin" charset="0"/>
              </a:defRPr>
            </a:lvl1pPr>
            <a:lvl2pPr marL="419913" indent="0" algn="ctr">
              <a:buNone/>
              <a:defRPr sz="1800"/>
            </a:lvl2pPr>
            <a:lvl3pPr marL="839828" indent="0" algn="ctr">
              <a:buNone/>
              <a:defRPr sz="1700"/>
            </a:lvl3pPr>
            <a:lvl4pPr marL="1259742" indent="0" algn="ctr">
              <a:buNone/>
              <a:defRPr sz="1500"/>
            </a:lvl4pPr>
            <a:lvl5pPr marL="1679655" indent="0" algn="ctr">
              <a:buNone/>
              <a:defRPr sz="1500"/>
            </a:lvl5pPr>
            <a:lvl6pPr marL="2099569" indent="0" algn="ctr">
              <a:buNone/>
              <a:defRPr sz="1500"/>
            </a:lvl6pPr>
            <a:lvl7pPr marL="2519483" indent="0" algn="ctr">
              <a:buNone/>
              <a:defRPr sz="1500"/>
            </a:lvl7pPr>
            <a:lvl8pPr marL="2939397" indent="0" algn="ctr">
              <a:buNone/>
              <a:defRPr sz="1500"/>
            </a:lvl8pPr>
            <a:lvl9pPr marL="3359310" indent="0" algn="ctr">
              <a:buNone/>
              <a:defRPr sz="15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 flipV="1">
            <a:off x="682331" y="4303843"/>
            <a:ext cx="2709080" cy="1"/>
          </a:xfrm>
          <a:prstGeom prst="line">
            <a:avLst/>
          </a:prstGeom>
          <a:ln>
            <a:solidFill>
              <a:schemeClr val="tx1">
                <a:alpha val="29804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682328" y="4303832"/>
            <a:ext cx="526666" cy="0"/>
          </a:xfrm>
          <a:prstGeom prst="line">
            <a:avLst/>
          </a:prstGeom>
          <a:ln>
            <a:solidFill>
              <a:schemeClr val="tx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673"/>
          <a:stretch/>
        </p:blipFill>
        <p:spPr>
          <a:xfrm>
            <a:off x="680633" y="852941"/>
            <a:ext cx="1852881" cy="346527"/>
          </a:xfrm>
          <a:prstGeom prst="rect">
            <a:avLst/>
          </a:prstGeom>
        </p:spPr>
      </p:pic>
      <p:grpSp>
        <p:nvGrpSpPr>
          <p:cNvPr id="12" name="Группа 11"/>
          <p:cNvGrpSpPr/>
          <p:nvPr userDrawn="1"/>
        </p:nvGrpSpPr>
        <p:grpSpPr>
          <a:xfrm>
            <a:off x="702967" y="709768"/>
            <a:ext cx="526666" cy="8"/>
            <a:chOff x="839788" y="214466"/>
            <a:chExt cx="648204" cy="8"/>
          </a:xfrm>
        </p:grpSpPr>
        <p:cxnSp>
          <p:nvCxnSpPr>
            <p:cNvPr id="16" name="Прямая соединительная линия 15"/>
            <p:cNvCxnSpPr/>
            <p:nvPr userDrawn="1"/>
          </p:nvCxnSpPr>
          <p:spPr>
            <a:xfrm>
              <a:off x="839789" y="214474"/>
              <a:ext cx="648203" cy="0"/>
            </a:xfrm>
            <a:prstGeom prst="line">
              <a:avLst/>
            </a:prstGeom>
            <a:ln>
              <a:solidFill>
                <a:schemeClr val="tx1">
                  <a:alpha val="29804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/>
            <p:cNvCxnSpPr/>
            <p:nvPr userDrawn="1"/>
          </p:nvCxnSpPr>
          <p:spPr>
            <a:xfrm>
              <a:off x="839788" y="214466"/>
              <a:ext cx="265112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98362896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pos="7151" userDrawn="1">
          <p15:clr>
            <a:srgbClr val="FBAE40"/>
          </p15:clr>
        </p15:guide>
        <p15:guide id="3" orient="horz" pos="404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ацентный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2619" y="234062"/>
            <a:ext cx="6756127" cy="662780"/>
          </a:xfrm>
        </p:spPr>
        <p:txBody>
          <a:bodyPr>
            <a:normAutofit/>
          </a:bodyPr>
          <a:lstStyle>
            <a:lvl1pPr>
              <a:defRPr sz="2600" cap="all" baseline="0">
                <a:solidFill>
                  <a:schemeClr val="tx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96397" y="1736728"/>
            <a:ext cx="8721437" cy="4351338"/>
          </a:xfrm>
        </p:spPr>
        <p:txBody>
          <a:bodyPr/>
          <a:lstStyle>
            <a:lvl1pPr marL="330642" indent="-330642">
              <a:lnSpc>
                <a:spcPct val="100000"/>
              </a:lnSpc>
              <a:spcBef>
                <a:spcPts val="0"/>
              </a:spcBef>
              <a:spcAft>
                <a:spcPts val="1109"/>
              </a:spcAft>
              <a:buFont typeface="Arial" panose="020B0604020202020204" pitchFamily="34" charset="0"/>
              <a:buChar char="•"/>
              <a:defRPr sz="1800" b="0" i="0">
                <a:latin typeface="+mj-lt"/>
                <a:ea typeface="Calibri" charset="0"/>
                <a:cs typeface="Calibri" charset="0"/>
              </a:defRPr>
            </a:lvl1pPr>
            <a:lvl2pPr marL="714184" indent="-274432">
              <a:lnSpc>
                <a:spcPct val="100000"/>
              </a:lnSpc>
              <a:spcBef>
                <a:spcPts val="0"/>
              </a:spcBef>
              <a:spcAft>
                <a:spcPts val="924"/>
              </a:spcAft>
              <a:buSzPct val="100000"/>
              <a:buFont typeface="Calibri Light" panose="020F0302020204030204" pitchFamily="34" charset="0"/>
              <a:buChar char="-"/>
              <a:defRPr sz="1700" b="0" i="0">
                <a:latin typeface="+mj-lt"/>
                <a:ea typeface="Calibri" charset="0"/>
                <a:cs typeface="Calibri" charset="0"/>
              </a:defRPr>
            </a:lvl2pPr>
            <a:lvl3pPr marL="1101034" indent="-221529">
              <a:spcBef>
                <a:spcPts val="0"/>
              </a:spcBef>
              <a:spcAft>
                <a:spcPts val="831"/>
              </a:spcAft>
              <a:buSzPct val="85000"/>
              <a:buFont typeface="Wingdings" panose="05000000000000000000" pitchFamily="2" charset="2"/>
              <a:buChar char="§"/>
              <a:defRPr sz="1500" b="0" i="0">
                <a:latin typeface="+mj-lt"/>
                <a:ea typeface="Calibri" charset="0"/>
                <a:cs typeface="Calibri" charset="0"/>
              </a:defRPr>
            </a:lvl3pPr>
            <a:lvl4pPr marL="1469698" indent="-209957">
              <a:lnSpc>
                <a:spcPct val="100000"/>
              </a:lnSpc>
              <a:spcBef>
                <a:spcPts val="0"/>
              </a:spcBef>
              <a:buFont typeface="Wingdings" panose="05000000000000000000" pitchFamily="2" charset="2"/>
              <a:buChar char="ü"/>
              <a:defRPr sz="1300" b="0" i="0" baseline="0">
                <a:latin typeface="+mj-lt"/>
                <a:ea typeface="Calibri" charset="0"/>
                <a:cs typeface="Calibri" charset="0"/>
              </a:defRPr>
            </a:lvl4pPr>
            <a:lvl5pPr>
              <a:defRPr sz="1300" b="0" i="0">
                <a:latin typeface="+mj-lt"/>
                <a:ea typeface="Calibri" charset="0"/>
                <a:cs typeface="Calibri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11254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9F9FE868-178E-0F4D-8A9A-79941EADC299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21.06.2019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281365" y="6412485"/>
            <a:ext cx="3343275" cy="365125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ru-RU" dirty="0" smtClean="0">
                <a:solidFill>
                  <a:srgbClr val="0C0C0C">
                    <a:tint val="75000"/>
                  </a:srgbClr>
                </a:solidFill>
              </a:rPr>
              <a:t>Национальная технологическая инициатива</a:t>
            </a:r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7091220" y="6412485"/>
            <a:ext cx="2228850" cy="365125"/>
          </a:xfrm>
        </p:spPr>
        <p:txBody>
          <a:bodyPr/>
          <a:lstStyle>
            <a:lvl1pPr>
              <a:defRPr b="0" i="0">
                <a:latin typeface="+mj-lt"/>
                <a:ea typeface="Chevin Pro Light" charset="0"/>
                <a:cs typeface="Chevin Pro Light" charset="0"/>
              </a:defRPr>
            </a:lvl1pPr>
          </a:lstStyle>
          <a:p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0C0C0C">
                  <a:tint val="75000"/>
                </a:srgbClr>
              </a:solidFill>
            </a:endParaRPr>
          </a:p>
        </p:txBody>
      </p:sp>
      <p:grpSp>
        <p:nvGrpSpPr>
          <p:cNvPr id="7" name="Группа 6"/>
          <p:cNvGrpSpPr/>
          <p:nvPr userDrawn="1"/>
        </p:nvGrpSpPr>
        <p:grpSpPr>
          <a:xfrm>
            <a:off x="681038" y="846046"/>
            <a:ext cx="8540566" cy="1"/>
            <a:chOff x="658813" y="800103"/>
            <a:chExt cx="10511466" cy="1"/>
          </a:xfrm>
        </p:grpSpPr>
        <p:cxnSp>
          <p:nvCxnSpPr>
            <p:cNvPr id="8" name="Прямая соединительная линия 7"/>
            <p:cNvCxnSpPr/>
            <p:nvPr/>
          </p:nvCxnSpPr>
          <p:spPr>
            <a:xfrm flipV="1">
              <a:off x="658814" y="800103"/>
              <a:ext cx="1051146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Прямая соединительная линия 8"/>
            <p:cNvCxnSpPr/>
            <p:nvPr/>
          </p:nvCxnSpPr>
          <p:spPr>
            <a:xfrm rot="16200000">
              <a:off x="1357457" y="101459"/>
              <a:ext cx="0" cy="1397287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" name="Изображение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4975"/>
          <a:stretch/>
        </p:blipFill>
        <p:spPr>
          <a:xfrm>
            <a:off x="7449373" y="422524"/>
            <a:ext cx="1777754" cy="321108"/>
          </a:xfrm>
          <a:prstGeom prst="rect">
            <a:avLst/>
          </a:prstGeom>
        </p:spPr>
      </p:pic>
      <p:grpSp>
        <p:nvGrpSpPr>
          <p:cNvPr id="11" name="Группа 10"/>
          <p:cNvGrpSpPr/>
          <p:nvPr userDrawn="1"/>
        </p:nvGrpSpPr>
        <p:grpSpPr>
          <a:xfrm>
            <a:off x="8723399" y="6426969"/>
            <a:ext cx="502330" cy="3"/>
            <a:chOff x="658813" y="800103"/>
            <a:chExt cx="618252" cy="3"/>
          </a:xfrm>
        </p:grpSpPr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658814" y="800105"/>
              <a:ext cx="618251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" name="Группа 13"/>
          <p:cNvGrpSpPr/>
          <p:nvPr userDrawn="1"/>
        </p:nvGrpSpPr>
        <p:grpSpPr>
          <a:xfrm>
            <a:off x="687128" y="6426965"/>
            <a:ext cx="677581" cy="4"/>
            <a:chOff x="658813" y="800103"/>
            <a:chExt cx="833946" cy="4"/>
          </a:xfrm>
        </p:grpSpPr>
        <p:cxnSp>
          <p:nvCxnSpPr>
            <p:cNvPr id="15" name="Прямая соединительная линия 14"/>
            <p:cNvCxnSpPr/>
            <p:nvPr/>
          </p:nvCxnSpPr>
          <p:spPr>
            <a:xfrm flipV="1">
              <a:off x="658814" y="800106"/>
              <a:ext cx="833945" cy="1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/>
            <p:cNvCxnSpPr/>
            <p:nvPr/>
          </p:nvCxnSpPr>
          <p:spPr>
            <a:xfrm>
              <a:off x="658813" y="800103"/>
              <a:ext cx="256367" cy="0"/>
            </a:xfrm>
            <a:prstGeom prst="line">
              <a:avLst/>
            </a:prstGeom>
            <a:ln>
              <a:solidFill>
                <a:schemeClr val="tx1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Текст 17"/>
          <p:cNvSpPr>
            <a:spLocks noGrp="1"/>
          </p:cNvSpPr>
          <p:nvPr>
            <p:ph type="body" sz="quarter" idx="13" hasCustomPrompt="1"/>
          </p:nvPr>
        </p:nvSpPr>
        <p:spPr>
          <a:xfrm>
            <a:off x="577853" y="1192099"/>
            <a:ext cx="4789309" cy="437244"/>
          </a:xfrm>
          <a:solidFill>
            <a:srgbClr val="ED1C24"/>
          </a:solidFill>
        </p:spPr>
        <p:txBody>
          <a:bodyPr anchor="ctr">
            <a:noAutofit/>
          </a:bodyPr>
          <a:lstStyle>
            <a:lvl1pPr marL="33064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 smtClean="0"/>
              <a:t>Подзаголовок слайда (опционально)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365350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29" userDrawn="1">
          <p15:clr>
            <a:srgbClr val="FBAE40"/>
          </p15:clr>
        </p15:guide>
        <p15:guide id="2" orient="horz" pos="4042" userDrawn="1">
          <p15:clr>
            <a:srgbClr val="FBAE40"/>
          </p15:clr>
        </p15:guide>
        <p15:guide id="3" pos="715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9" y="365132"/>
            <a:ext cx="8543925" cy="1325563"/>
          </a:xfrm>
          <a:prstGeom prst="rect">
            <a:avLst/>
          </a:prstGeom>
        </p:spPr>
        <p:txBody>
          <a:bodyPr vert="horz" lIns="91433" tIns="45716" rIns="91433" bIns="45716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9"/>
            <a:ext cx="2228850" cy="365125"/>
          </a:xfrm>
          <a:prstGeom prst="rect">
            <a:avLst/>
          </a:prstGeom>
        </p:spPr>
        <p:txBody>
          <a:bodyPr vert="horz" lIns="91433" tIns="45716" rIns="91433" bIns="45716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EBF694-B8EB-EF40-A549-05FDAE4460FC}" type="datetime3">
              <a:rPr lang="ru-RU" smtClean="0"/>
              <a:pPr/>
              <a:t>21/06/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7" y="6356359"/>
            <a:ext cx="3343275" cy="365125"/>
          </a:xfrm>
          <a:prstGeom prst="rect">
            <a:avLst/>
          </a:prstGeom>
        </p:spPr>
        <p:txBody>
          <a:bodyPr vert="horz" lIns="91433" tIns="45716" rIns="91433" bIns="4571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 smtClean="0"/>
              <a:t>2016 © Национальная технологическая инициатива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3" y="6356359"/>
            <a:ext cx="2228850" cy="365125"/>
          </a:xfrm>
          <a:prstGeom prst="rect">
            <a:avLst/>
          </a:prstGeom>
        </p:spPr>
        <p:txBody>
          <a:bodyPr vert="horz" lIns="91433" tIns="45716" rIns="91433" bIns="4571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660E9-E116-4F2D-91B7-27BAC0D3A97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08978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66" r:id="rId3"/>
    <p:sldLayoutId id="2147483650" r:id="rId4"/>
    <p:sldLayoutId id="2147483664" r:id="rId5"/>
    <p:sldLayoutId id="2147483668" r:id="rId6"/>
    <p:sldLayoutId id="2147483667" r:id="rId7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32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1" indent="-228581" algn="l" defTabSz="91432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40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0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62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20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8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4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0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61" indent="-228581" algn="l" defTabSz="9143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1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0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41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9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62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21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81" algn="l" defTabSz="9143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8"/>
            <a:ext cx="8543925" cy="1325563"/>
          </a:xfrm>
          <a:prstGeom prst="rect">
            <a:avLst/>
          </a:prstGeom>
        </p:spPr>
        <p:txBody>
          <a:bodyPr vert="horz" lIns="83984" tIns="41992" rIns="83984" bIns="41992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8"/>
            <a:ext cx="8543925" cy="4351338"/>
          </a:xfrm>
          <a:prstGeom prst="rect">
            <a:avLst/>
          </a:prstGeom>
        </p:spPr>
        <p:txBody>
          <a:bodyPr vert="horz" lIns="83984" tIns="41992" rIns="83984" bIns="4199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59"/>
              <a:t>21.06.2019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5" y="6356351"/>
            <a:ext cx="3343275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4" tIns="41992" rIns="83984" bIns="41992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59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59"/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5111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39828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9957" indent="-209957" algn="l" defTabSz="839828" rtl="0" eaLnBrk="1" latinLnBrk="0" hangingPunct="1">
        <a:lnSpc>
          <a:spcPct val="90000"/>
        </a:lnSpc>
        <a:spcBef>
          <a:spcPts val="919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871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785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698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612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526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438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355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267" indent="-209957" algn="l" defTabSz="839828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13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28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742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655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569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483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397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310" algn="l" defTabSz="839828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1038" y="365126"/>
            <a:ext cx="8543925" cy="1325563"/>
          </a:xfrm>
          <a:prstGeom prst="rect">
            <a:avLst/>
          </a:prstGeom>
        </p:spPr>
        <p:txBody>
          <a:bodyPr vert="horz" lIns="83988" tIns="41994" rIns="83988" bIns="41994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81038" y="1825626"/>
            <a:ext cx="8543925" cy="4351338"/>
          </a:xfrm>
          <a:prstGeom prst="rect">
            <a:avLst/>
          </a:prstGeom>
        </p:spPr>
        <p:txBody>
          <a:bodyPr vert="horz" lIns="83988" tIns="41994" rIns="83988" bIns="41994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81038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fld id="{72E54A96-148C-F54C-A0C8-C109EC283038}" type="datetime1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87"/>
              <a:t>21.06.2019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281363" y="6356351"/>
            <a:ext cx="3343275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r>
              <a:rPr lang="ru-RU" smtClean="0">
                <a:solidFill>
                  <a:srgbClr val="0C0C0C">
                    <a:tint val="75000"/>
                  </a:srgbClr>
                </a:solidFill>
              </a:rPr>
              <a:t>2016 © Национальная технологическая инициатива</a:t>
            </a:r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996112" y="6356351"/>
            <a:ext cx="2228850" cy="365125"/>
          </a:xfrm>
          <a:prstGeom prst="rect">
            <a:avLst/>
          </a:prstGeom>
        </p:spPr>
        <p:txBody>
          <a:bodyPr vert="horz" lIns="83988" tIns="41994" rIns="83988" bIns="41994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187"/>
            <a:fld id="{3EF660E9-E116-4F2D-91B7-27BAC0D3A970}" type="slidenum">
              <a:rPr lang="ru-RU" smtClean="0">
                <a:solidFill>
                  <a:srgbClr val="0C0C0C">
                    <a:tint val="75000"/>
                  </a:srgbClr>
                </a:solidFill>
              </a:rPr>
              <a:pPr defTabSz="457187"/>
              <a:t>‹#›</a:t>
            </a:fld>
            <a:endParaRPr lang="ru-RU">
              <a:solidFill>
                <a:srgbClr val="0C0C0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27472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839876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9969" indent="-209969" algn="l" defTabSz="839876" rtl="0" eaLnBrk="1" latinLnBrk="0" hangingPunct="1">
        <a:lnSpc>
          <a:spcPct val="90000"/>
        </a:lnSpc>
        <a:spcBef>
          <a:spcPts val="919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29907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846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784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722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660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598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149537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69475" indent="-209969" algn="l" defTabSz="839876" rtl="0" eaLnBrk="1" latinLnBrk="0" hangingPunct="1">
        <a:lnSpc>
          <a:spcPct val="90000"/>
        </a:lnSpc>
        <a:spcBef>
          <a:spcPts val="459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938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87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815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753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691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629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9567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9506" algn="l" defTabSz="839876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4.png"/><Relationship Id="rId18" Type="http://schemas.openxmlformats.org/officeDocument/2006/relationships/image" Target="../media/image29.png"/><Relationship Id="rId26" Type="http://schemas.openxmlformats.org/officeDocument/2006/relationships/image" Target="../media/image37.png"/><Relationship Id="rId39" Type="http://schemas.openxmlformats.org/officeDocument/2006/relationships/image" Target="../media/image49.png"/><Relationship Id="rId21" Type="http://schemas.openxmlformats.org/officeDocument/2006/relationships/image" Target="../media/image32.png"/><Relationship Id="rId34" Type="http://schemas.openxmlformats.org/officeDocument/2006/relationships/image" Target="../media/image45.png"/><Relationship Id="rId42" Type="http://schemas.openxmlformats.org/officeDocument/2006/relationships/image" Target="../media/image52.png"/><Relationship Id="rId47" Type="http://schemas.openxmlformats.org/officeDocument/2006/relationships/image" Target="../media/image57.png"/><Relationship Id="rId50" Type="http://schemas.openxmlformats.org/officeDocument/2006/relationships/image" Target="../media/image60.png"/><Relationship Id="rId55" Type="http://schemas.openxmlformats.org/officeDocument/2006/relationships/image" Target="../media/image6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7.png"/><Relationship Id="rId29" Type="http://schemas.openxmlformats.org/officeDocument/2006/relationships/image" Target="../media/image40.png"/><Relationship Id="rId11" Type="http://schemas.openxmlformats.org/officeDocument/2006/relationships/image" Target="../media/image22.png"/><Relationship Id="rId24" Type="http://schemas.openxmlformats.org/officeDocument/2006/relationships/image" Target="../media/image35.png"/><Relationship Id="rId32" Type="http://schemas.openxmlformats.org/officeDocument/2006/relationships/image" Target="../media/image43.png"/><Relationship Id="rId37" Type="http://schemas.openxmlformats.org/officeDocument/2006/relationships/image" Target="../media/image47.png"/><Relationship Id="rId40" Type="http://schemas.openxmlformats.org/officeDocument/2006/relationships/image" Target="../media/image50.png"/><Relationship Id="rId45" Type="http://schemas.openxmlformats.org/officeDocument/2006/relationships/image" Target="../media/image55.png"/><Relationship Id="rId53" Type="http://schemas.openxmlformats.org/officeDocument/2006/relationships/image" Target="../media/image63.png"/><Relationship Id="rId58" Type="http://schemas.openxmlformats.org/officeDocument/2006/relationships/image" Target="../media/image68.png"/><Relationship Id="rId5" Type="http://schemas.openxmlformats.org/officeDocument/2006/relationships/image" Target="../media/image17.png"/><Relationship Id="rId61" Type="http://schemas.openxmlformats.org/officeDocument/2006/relationships/image" Target="../media/image71.png"/><Relationship Id="rId19" Type="http://schemas.openxmlformats.org/officeDocument/2006/relationships/image" Target="../media/image30.png"/><Relationship Id="rId14" Type="http://schemas.openxmlformats.org/officeDocument/2006/relationships/image" Target="../media/image25.png"/><Relationship Id="rId22" Type="http://schemas.openxmlformats.org/officeDocument/2006/relationships/image" Target="../media/image33.png"/><Relationship Id="rId27" Type="http://schemas.openxmlformats.org/officeDocument/2006/relationships/image" Target="../media/image38.png"/><Relationship Id="rId30" Type="http://schemas.openxmlformats.org/officeDocument/2006/relationships/image" Target="../media/image41.png"/><Relationship Id="rId35" Type="http://schemas.openxmlformats.org/officeDocument/2006/relationships/image" Target="../media/image12.png"/><Relationship Id="rId43" Type="http://schemas.openxmlformats.org/officeDocument/2006/relationships/image" Target="../media/image53.png"/><Relationship Id="rId48" Type="http://schemas.openxmlformats.org/officeDocument/2006/relationships/image" Target="../media/image58.png"/><Relationship Id="rId56" Type="http://schemas.openxmlformats.org/officeDocument/2006/relationships/image" Target="../media/image66.png"/><Relationship Id="rId8" Type="http://schemas.openxmlformats.org/officeDocument/2006/relationships/image" Target="../media/image20.png"/><Relationship Id="rId51" Type="http://schemas.openxmlformats.org/officeDocument/2006/relationships/image" Target="../media/image61.png"/><Relationship Id="rId3" Type="http://schemas.openxmlformats.org/officeDocument/2006/relationships/image" Target="../media/image15.png"/><Relationship Id="rId12" Type="http://schemas.openxmlformats.org/officeDocument/2006/relationships/image" Target="../media/image23.png"/><Relationship Id="rId17" Type="http://schemas.openxmlformats.org/officeDocument/2006/relationships/image" Target="../media/image28.png"/><Relationship Id="rId25" Type="http://schemas.openxmlformats.org/officeDocument/2006/relationships/image" Target="../media/image36.png"/><Relationship Id="rId33" Type="http://schemas.openxmlformats.org/officeDocument/2006/relationships/image" Target="../media/image44.png"/><Relationship Id="rId38" Type="http://schemas.openxmlformats.org/officeDocument/2006/relationships/image" Target="../media/image48.png"/><Relationship Id="rId46" Type="http://schemas.openxmlformats.org/officeDocument/2006/relationships/image" Target="../media/image56.png"/><Relationship Id="rId59" Type="http://schemas.openxmlformats.org/officeDocument/2006/relationships/image" Target="../media/image69.png"/><Relationship Id="rId20" Type="http://schemas.openxmlformats.org/officeDocument/2006/relationships/image" Target="../media/image31.png"/><Relationship Id="rId41" Type="http://schemas.openxmlformats.org/officeDocument/2006/relationships/image" Target="../media/image51.png"/><Relationship Id="rId54" Type="http://schemas.openxmlformats.org/officeDocument/2006/relationships/image" Target="../media/image64.png"/><Relationship Id="rId62" Type="http://schemas.openxmlformats.org/officeDocument/2006/relationships/image" Target="../media/image7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15" Type="http://schemas.openxmlformats.org/officeDocument/2006/relationships/image" Target="../media/image26.png"/><Relationship Id="rId23" Type="http://schemas.openxmlformats.org/officeDocument/2006/relationships/image" Target="../media/image34.png"/><Relationship Id="rId28" Type="http://schemas.openxmlformats.org/officeDocument/2006/relationships/image" Target="../media/image39.png"/><Relationship Id="rId36" Type="http://schemas.openxmlformats.org/officeDocument/2006/relationships/image" Target="../media/image46.png"/><Relationship Id="rId49" Type="http://schemas.openxmlformats.org/officeDocument/2006/relationships/image" Target="../media/image59.png"/><Relationship Id="rId57" Type="http://schemas.openxmlformats.org/officeDocument/2006/relationships/image" Target="../media/image67.png"/><Relationship Id="rId10" Type="http://schemas.openxmlformats.org/officeDocument/2006/relationships/image" Target="../media/image21.png"/><Relationship Id="rId31" Type="http://schemas.openxmlformats.org/officeDocument/2006/relationships/image" Target="../media/image42.png"/><Relationship Id="rId44" Type="http://schemas.openxmlformats.org/officeDocument/2006/relationships/image" Target="../media/image54.png"/><Relationship Id="rId52" Type="http://schemas.openxmlformats.org/officeDocument/2006/relationships/image" Target="../media/image62.png"/><Relationship Id="rId60" Type="http://schemas.openxmlformats.org/officeDocument/2006/relationships/image" Target="../media/image70.png"/><Relationship Id="rId4" Type="http://schemas.openxmlformats.org/officeDocument/2006/relationships/image" Target="../media/image16.png"/><Relationship Id="rId9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0.png"/><Relationship Id="rId18" Type="http://schemas.openxmlformats.org/officeDocument/2006/relationships/image" Target="../media/image87.png"/><Relationship Id="rId26" Type="http://schemas.openxmlformats.org/officeDocument/2006/relationships/image" Target="../media/image95.png"/><Relationship Id="rId39" Type="http://schemas.openxmlformats.org/officeDocument/2006/relationships/image" Target="../media/image108.png"/><Relationship Id="rId21" Type="http://schemas.openxmlformats.org/officeDocument/2006/relationships/image" Target="../media/image90.png"/><Relationship Id="rId34" Type="http://schemas.openxmlformats.org/officeDocument/2006/relationships/image" Target="../media/image103.png"/><Relationship Id="rId42" Type="http://schemas.openxmlformats.org/officeDocument/2006/relationships/image" Target="../media/image111.png"/><Relationship Id="rId47" Type="http://schemas.openxmlformats.org/officeDocument/2006/relationships/image" Target="../media/image116.png"/><Relationship Id="rId50" Type="http://schemas.openxmlformats.org/officeDocument/2006/relationships/image" Target="../media/image119.png"/><Relationship Id="rId55" Type="http://schemas.openxmlformats.org/officeDocument/2006/relationships/image" Target="../media/image124.png"/><Relationship Id="rId7" Type="http://schemas.openxmlformats.org/officeDocument/2006/relationships/image" Target="../media/image77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85.png"/><Relationship Id="rId29" Type="http://schemas.openxmlformats.org/officeDocument/2006/relationships/image" Target="../media/image98.png"/><Relationship Id="rId11" Type="http://schemas.openxmlformats.org/officeDocument/2006/relationships/image" Target="../media/image81.png"/><Relationship Id="rId24" Type="http://schemas.openxmlformats.org/officeDocument/2006/relationships/image" Target="../media/image93.png"/><Relationship Id="rId32" Type="http://schemas.openxmlformats.org/officeDocument/2006/relationships/image" Target="../media/image101.png"/><Relationship Id="rId37" Type="http://schemas.openxmlformats.org/officeDocument/2006/relationships/image" Target="../media/image106.png"/><Relationship Id="rId40" Type="http://schemas.openxmlformats.org/officeDocument/2006/relationships/image" Target="../media/image109.png"/><Relationship Id="rId45" Type="http://schemas.openxmlformats.org/officeDocument/2006/relationships/image" Target="../media/image114.png"/><Relationship Id="rId53" Type="http://schemas.openxmlformats.org/officeDocument/2006/relationships/image" Target="../media/image122.png"/><Relationship Id="rId58" Type="http://schemas.openxmlformats.org/officeDocument/2006/relationships/image" Target="../media/image127.png"/><Relationship Id="rId5" Type="http://schemas.openxmlformats.org/officeDocument/2006/relationships/image" Target="../media/image75.png"/><Relationship Id="rId61" Type="http://schemas.openxmlformats.org/officeDocument/2006/relationships/image" Target="../media/image130.png"/><Relationship Id="rId19" Type="http://schemas.openxmlformats.org/officeDocument/2006/relationships/image" Target="../media/image88.png"/><Relationship Id="rId14" Type="http://schemas.openxmlformats.org/officeDocument/2006/relationships/image" Target="../media/image83.png"/><Relationship Id="rId22" Type="http://schemas.openxmlformats.org/officeDocument/2006/relationships/image" Target="../media/image91.png"/><Relationship Id="rId27" Type="http://schemas.openxmlformats.org/officeDocument/2006/relationships/image" Target="../media/image96.png"/><Relationship Id="rId30" Type="http://schemas.openxmlformats.org/officeDocument/2006/relationships/image" Target="../media/image99.png"/><Relationship Id="rId35" Type="http://schemas.openxmlformats.org/officeDocument/2006/relationships/image" Target="../media/image104.png"/><Relationship Id="rId43" Type="http://schemas.openxmlformats.org/officeDocument/2006/relationships/image" Target="../media/image112.png"/><Relationship Id="rId48" Type="http://schemas.openxmlformats.org/officeDocument/2006/relationships/image" Target="../media/image117.png"/><Relationship Id="rId56" Type="http://schemas.openxmlformats.org/officeDocument/2006/relationships/image" Target="../media/image125.png"/><Relationship Id="rId8" Type="http://schemas.openxmlformats.org/officeDocument/2006/relationships/image" Target="../media/image78.png"/><Relationship Id="rId51" Type="http://schemas.openxmlformats.org/officeDocument/2006/relationships/image" Target="../media/image120.png"/><Relationship Id="rId3" Type="http://schemas.openxmlformats.org/officeDocument/2006/relationships/image" Target="../media/image73.png"/><Relationship Id="rId12" Type="http://schemas.openxmlformats.org/officeDocument/2006/relationships/image" Target="../media/image82.png"/><Relationship Id="rId17" Type="http://schemas.openxmlformats.org/officeDocument/2006/relationships/image" Target="../media/image86.png"/><Relationship Id="rId25" Type="http://schemas.openxmlformats.org/officeDocument/2006/relationships/image" Target="../media/image94.png"/><Relationship Id="rId33" Type="http://schemas.openxmlformats.org/officeDocument/2006/relationships/image" Target="../media/image102.png"/><Relationship Id="rId38" Type="http://schemas.openxmlformats.org/officeDocument/2006/relationships/image" Target="../media/image107.png"/><Relationship Id="rId46" Type="http://schemas.openxmlformats.org/officeDocument/2006/relationships/image" Target="../media/image115.png"/><Relationship Id="rId59" Type="http://schemas.openxmlformats.org/officeDocument/2006/relationships/image" Target="../media/image128.png"/><Relationship Id="rId20" Type="http://schemas.openxmlformats.org/officeDocument/2006/relationships/image" Target="../media/image89.png"/><Relationship Id="rId41" Type="http://schemas.openxmlformats.org/officeDocument/2006/relationships/image" Target="../media/image110.png"/><Relationship Id="rId54" Type="http://schemas.openxmlformats.org/officeDocument/2006/relationships/image" Target="../media/image123.png"/><Relationship Id="rId62" Type="http://schemas.openxmlformats.org/officeDocument/2006/relationships/image" Target="../media/image1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76.png"/><Relationship Id="rId15" Type="http://schemas.openxmlformats.org/officeDocument/2006/relationships/image" Target="../media/image84.png"/><Relationship Id="rId23" Type="http://schemas.openxmlformats.org/officeDocument/2006/relationships/image" Target="../media/image92.png"/><Relationship Id="rId28" Type="http://schemas.openxmlformats.org/officeDocument/2006/relationships/image" Target="../media/image97.png"/><Relationship Id="rId36" Type="http://schemas.openxmlformats.org/officeDocument/2006/relationships/image" Target="../media/image105.png"/><Relationship Id="rId49" Type="http://schemas.openxmlformats.org/officeDocument/2006/relationships/image" Target="../media/image118.png"/><Relationship Id="rId57" Type="http://schemas.openxmlformats.org/officeDocument/2006/relationships/image" Target="../media/image126.png"/><Relationship Id="rId10" Type="http://schemas.openxmlformats.org/officeDocument/2006/relationships/image" Target="../media/image80.png"/><Relationship Id="rId31" Type="http://schemas.openxmlformats.org/officeDocument/2006/relationships/image" Target="../media/image100.png"/><Relationship Id="rId44" Type="http://schemas.openxmlformats.org/officeDocument/2006/relationships/image" Target="../media/image113.png"/><Relationship Id="rId52" Type="http://schemas.openxmlformats.org/officeDocument/2006/relationships/image" Target="../media/image121.png"/><Relationship Id="rId60" Type="http://schemas.openxmlformats.org/officeDocument/2006/relationships/image" Target="../media/image129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42.png"/><Relationship Id="rId18" Type="http://schemas.openxmlformats.org/officeDocument/2006/relationships/image" Target="../media/image147.png"/><Relationship Id="rId26" Type="http://schemas.openxmlformats.org/officeDocument/2006/relationships/image" Target="../media/image155.png"/><Relationship Id="rId39" Type="http://schemas.openxmlformats.org/officeDocument/2006/relationships/image" Target="../media/image168.png"/><Relationship Id="rId21" Type="http://schemas.openxmlformats.org/officeDocument/2006/relationships/image" Target="../media/image150.png"/><Relationship Id="rId34" Type="http://schemas.openxmlformats.org/officeDocument/2006/relationships/image" Target="../media/image163.png"/><Relationship Id="rId42" Type="http://schemas.openxmlformats.org/officeDocument/2006/relationships/image" Target="../media/image171.png"/><Relationship Id="rId47" Type="http://schemas.openxmlformats.org/officeDocument/2006/relationships/image" Target="../media/image176.png"/><Relationship Id="rId50" Type="http://schemas.openxmlformats.org/officeDocument/2006/relationships/image" Target="../media/image179.png"/><Relationship Id="rId55" Type="http://schemas.openxmlformats.org/officeDocument/2006/relationships/image" Target="../media/image184.png"/><Relationship Id="rId7" Type="http://schemas.openxmlformats.org/officeDocument/2006/relationships/image" Target="../media/image136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145.png"/><Relationship Id="rId29" Type="http://schemas.openxmlformats.org/officeDocument/2006/relationships/image" Target="../media/image158.png"/><Relationship Id="rId11" Type="http://schemas.openxmlformats.org/officeDocument/2006/relationships/image" Target="../media/image140.png"/><Relationship Id="rId24" Type="http://schemas.openxmlformats.org/officeDocument/2006/relationships/image" Target="../media/image153.png"/><Relationship Id="rId32" Type="http://schemas.openxmlformats.org/officeDocument/2006/relationships/image" Target="../media/image161.png"/><Relationship Id="rId37" Type="http://schemas.openxmlformats.org/officeDocument/2006/relationships/image" Target="../media/image166.png"/><Relationship Id="rId40" Type="http://schemas.openxmlformats.org/officeDocument/2006/relationships/image" Target="../media/image169.png"/><Relationship Id="rId45" Type="http://schemas.openxmlformats.org/officeDocument/2006/relationships/image" Target="../media/image174.png"/><Relationship Id="rId53" Type="http://schemas.openxmlformats.org/officeDocument/2006/relationships/image" Target="../media/image182.png"/><Relationship Id="rId58" Type="http://schemas.openxmlformats.org/officeDocument/2006/relationships/image" Target="../media/image187.png"/><Relationship Id="rId5" Type="http://schemas.openxmlformats.org/officeDocument/2006/relationships/image" Target="../media/image134.png"/><Relationship Id="rId61" Type="http://schemas.openxmlformats.org/officeDocument/2006/relationships/image" Target="../media/image190.png"/><Relationship Id="rId19" Type="http://schemas.openxmlformats.org/officeDocument/2006/relationships/image" Target="../media/image148.png"/><Relationship Id="rId14" Type="http://schemas.openxmlformats.org/officeDocument/2006/relationships/image" Target="../media/image143.png"/><Relationship Id="rId22" Type="http://schemas.openxmlformats.org/officeDocument/2006/relationships/image" Target="../media/image151.png"/><Relationship Id="rId27" Type="http://schemas.openxmlformats.org/officeDocument/2006/relationships/image" Target="../media/image156.png"/><Relationship Id="rId30" Type="http://schemas.openxmlformats.org/officeDocument/2006/relationships/image" Target="../media/image159.png"/><Relationship Id="rId35" Type="http://schemas.openxmlformats.org/officeDocument/2006/relationships/image" Target="../media/image164.png"/><Relationship Id="rId43" Type="http://schemas.openxmlformats.org/officeDocument/2006/relationships/image" Target="../media/image172.png"/><Relationship Id="rId48" Type="http://schemas.openxmlformats.org/officeDocument/2006/relationships/image" Target="../media/image177.png"/><Relationship Id="rId56" Type="http://schemas.openxmlformats.org/officeDocument/2006/relationships/image" Target="../media/image185.png"/><Relationship Id="rId8" Type="http://schemas.openxmlformats.org/officeDocument/2006/relationships/image" Target="../media/image137.png"/><Relationship Id="rId51" Type="http://schemas.openxmlformats.org/officeDocument/2006/relationships/image" Target="../media/image180.png"/><Relationship Id="rId3" Type="http://schemas.openxmlformats.org/officeDocument/2006/relationships/image" Target="../media/image132.png"/><Relationship Id="rId12" Type="http://schemas.openxmlformats.org/officeDocument/2006/relationships/image" Target="../media/image141.png"/><Relationship Id="rId17" Type="http://schemas.openxmlformats.org/officeDocument/2006/relationships/image" Target="../media/image146.png"/><Relationship Id="rId25" Type="http://schemas.openxmlformats.org/officeDocument/2006/relationships/image" Target="../media/image154.png"/><Relationship Id="rId33" Type="http://schemas.openxmlformats.org/officeDocument/2006/relationships/image" Target="../media/image162.png"/><Relationship Id="rId38" Type="http://schemas.openxmlformats.org/officeDocument/2006/relationships/image" Target="../media/image167.png"/><Relationship Id="rId46" Type="http://schemas.openxmlformats.org/officeDocument/2006/relationships/image" Target="../media/image175.png"/><Relationship Id="rId59" Type="http://schemas.openxmlformats.org/officeDocument/2006/relationships/image" Target="../media/image188.png"/><Relationship Id="rId20" Type="http://schemas.openxmlformats.org/officeDocument/2006/relationships/image" Target="../media/image149.png"/><Relationship Id="rId41" Type="http://schemas.openxmlformats.org/officeDocument/2006/relationships/image" Target="../media/image170.png"/><Relationship Id="rId54" Type="http://schemas.openxmlformats.org/officeDocument/2006/relationships/image" Target="../media/image183.png"/><Relationship Id="rId62" Type="http://schemas.openxmlformats.org/officeDocument/2006/relationships/image" Target="../media/image19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35.png"/><Relationship Id="rId15" Type="http://schemas.openxmlformats.org/officeDocument/2006/relationships/image" Target="../media/image144.png"/><Relationship Id="rId23" Type="http://schemas.openxmlformats.org/officeDocument/2006/relationships/image" Target="../media/image152.png"/><Relationship Id="rId28" Type="http://schemas.openxmlformats.org/officeDocument/2006/relationships/image" Target="../media/image157.png"/><Relationship Id="rId36" Type="http://schemas.openxmlformats.org/officeDocument/2006/relationships/image" Target="../media/image165.png"/><Relationship Id="rId49" Type="http://schemas.openxmlformats.org/officeDocument/2006/relationships/image" Target="../media/image178.png"/><Relationship Id="rId57" Type="http://schemas.openxmlformats.org/officeDocument/2006/relationships/image" Target="../media/image186.png"/><Relationship Id="rId10" Type="http://schemas.openxmlformats.org/officeDocument/2006/relationships/image" Target="../media/image139.png"/><Relationship Id="rId31" Type="http://schemas.openxmlformats.org/officeDocument/2006/relationships/image" Target="../media/image160.png"/><Relationship Id="rId44" Type="http://schemas.openxmlformats.org/officeDocument/2006/relationships/image" Target="../media/image173.png"/><Relationship Id="rId52" Type="http://schemas.openxmlformats.org/officeDocument/2006/relationships/image" Target="../media/image181.png"/><Relationship Id="rId60" Type="http://schemas.openxmlformats.org/officeDocument/2006/relationships/image" Target="../media/image189.png"/><Relationship Id="rId4" Type="http://schemas.openxmlformats.org/officeDocument/2006/relationships/image" Target="../media/image133.png"/><Relationship Id="rId9" Type="http://schemas.openxmlformats.org/officeDocument/2006/relationships/image" Target="../media/image138.png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02.png"/><Relationship Id="rId18" Type="http://schemas.openxmlformats.org/officeDocument/2006/relationships/image" Target="../media/image207.png"/><Relationship Id="rId26" Type="http://schemas.openxmlformats.org/officeDocument/2006/relationships/image" Target="../media/image215.png"/><Relationship Id="rId39" Type="http://schemas.openxmlformats.org/officeDocument/2006/relationships/image" Target="../media/image228.png"/><Relationship Id="rId21" Type="http://schemas.openxmlformats.org/officeDocument/2006/relationships/image" Target="../media/image210.png"/><Relationship Id="rId34" Type="http://schemas.openxmlformats.org/officeDocument/2006/relationships/image" Target="../media/image223.png"/><Relationship Id="rId42" Type="http://schemas.openxmlformats.org/officeDocument/2006/relationships/image" Target="../media/image231.png"/><Relationship Id="rId47" Type="http://schemas.openxmlformats.org/officeDocument/2006/relationships/image" Target="../media/image236.png"/><Relationship Id="rId50" Type="http://schemas.openxmlformats.org/officeDocument/2006/relationships/image" Target="../media/image239.png"/><Relationship Id="rId55" Type="http://schemas.openxmlformats.org/officeDocument/2006/relationships/image" Target="../media/image244.png"/><Relationship Id="rId7" Type="http://schemas.openxmlformats.org/officeDocument/2006/relationships/image" Target="../media/image196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205.png"/><Relationship Id="rId29" Type="http://schemas.openxmlformats.org/officeDocument/2006/relationships/image" Target="../media/image218.png"/><Relationship Id="rId11" Type="http://schemas.openxmlformats.org/officeDocument/2006/relationships/image" Target="../media/image200.png"/><Relationship Id="rId24" Type="http://schemas.openxmlformats.org/officeDocument/2006/relationships/image" Target="../media/image213.png"/><Relationship Id="rId32" Type="http://schemas.openxmlformats.org/officeDocument/2006/relationships/image" Target="../media/image221.png"/><Relationship Id="rId37" Type="http://schemas.openxmlformats.org/officeDocument/2006/relationships/image" Target="../media/image226.png"/><Relationship Id="rId40" Type="http://schemas.openxmlformats.org/officeDocument/2006/relationships/image" Target="../media/image229.png"/><Relationship Id="rId45" Type="http://schemas.openxmlformats.org/officeDocument/2006/relationships/image" Target="../media/image234.png"/><Relationship Id="rId53" Type="http://schemas.openxmlformats.org/officeDocument/2006/relationships/image" Target="../media/image242.png"/><Relationship Id="rId58" Type="http://schemas.openxmlformats.org/officeDocument/2006/relationships/image" Target="../media/image247.png"/><Relationship Id="rId5" Type="http://schemas.openxmlformats.org/officeDocument/2006/relationships/image" Target="../media/image194.png"/><Relationship Id="rId61" Type="http://schemas.openxmlformats.org/officeDocument/2006/relationships/image" Target="../media/image250.png"/><Relationship Id="rId19" Type="http://schemas.openxmlformats.org/officeDocument/2006/relationships/image" Target="../media/image208.png"/><Relationship Id="rId14" Type="http://schemas.openxmlformats.org/officeDocument/2006/relationships/image" Target="../media/image203.png"/><Relationship Id="rId22" Type="http://schemas.openxmlformats.org/officeDocument/2006/relationships/image" Target="../media/image211.png"/><Relationship Id="rId27" Type="http://schemas.openxmlformats.org/officeDocument/2006/relationships/image" Target="../media/image216.png"/><Relationship Id="rId30" Type="http://schemas.openxmlformats.org/officeDocument/2006/relationships/image" Target="../media/image219.png"/><Relationship Id="rId35" Type="http://schemas.openxmlformats.org/officeDocument/2006/relationships/image" Target="../media/image224.png"/><Relationship Id="rId43" Type="http://schemas.openxmlformats.org/officeDocument/2006/relationships/image" Target="../media/image232.png"/><Relationship Id="rId48" Type="http://schemas.openxmlformats.org/officeDocument/2006/relationships/image" Target="../media/image237.png"/><Relationship Id="rId56" Type="http://schemas.openxmlformats.org/officeDocument/2006/relationships/image" Target="../media/image245.png"/><Relationship Id="rId8" Type="http://schemas.openxmlformats.org/officeDocument/2006/relationships/image" Target="../media/image197.png"/><Relationship Id="rId51" Type="http://schemas.openxmlformats.org/officeDocument/2006/relationships/image" Target="../media/image240.png"/><Relationship Id="rId3" Type="http://schemas.openxmlformats.org/officeDocument/2006/relationships/image" Target="../media/image192.png"/><Relationship Id="rId12" Type="http://schemas.openxmlformats.org/officeDocument/2006/relationships/image" Target="../media/image201.png"/><Relationship Id="rId17" Type="http://schemas.openxmlformats.org/officeDocument/2006/relationships/image" Target="../media/image206.png"/><Relationship Id="rId25" Type="http://schemas.openxmlformats.org/officeDocument/2006/relationships/image" Target="../media/image214.png"/><Relationship Id="rId33" Type="http://schemas.openxmlformats.org/officeDocument/2006/relationships/image" Target="../media/image222.png"/><Relationship Id="rId38" Type="http://schemas.openxmlformats.org/officeDocument/2006/relationships/image" Target="../media/image227.png"/><Relationship Id="rId46" Type="http://schemas.openxmlformats.org/officeDocument/2006/relationships/image" Target="../media/image235.png"/><Relationship Id="rId59" Type="http://schemas.openxmlformats.org/officeDocument/2006/relationships/image" Target="../media/image248.png"/><Relationship Id="rId20" Type="http://schemas.openxmlformats.org/officeDocument/2006/relationships/image" Target="../media/image209.png"/><Relationship Id="rId41" Type="http://schemas.openxmlformats.org/officeDocument/2006/relationships/image" Target="../media/image230.png"/><Relationship Id="rId54" Type="http://schemas.openxmlformats.org/officeDocument/2006/relationships/image" Target="../media/image243.png"/><Relationship Id="rId62" Type="http://schemas.openxmlformats.org/officeDocument/2006/relationships/image" Target="../media/image25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95.png"/><Relationship Id="rId15" Type="http://schemas.openxmlformats.org/officeDocument/2006/relationships/image" Target="../media/image204.png"/><Relationship Id="rId23" Type="http://schemas.openxmlformats.org/officeDocument/2006/relationships/image" Target="../media/image212.png"/><Relationship Id="rId28" Type="http://schemas.openxmlformats.org/officeDocument/2006/relationships/image" Target="../media/image217.png"/><Relationship Id="rId36" Type="http://schemas.openxmlformats.org/officeDocument/2006/relationships/image" Target="../media/image225.png"/><Relationship Id="rId49" Type="http://schemas.openxmlformats.org/officeDocument/2006/relationships/image" Target="../media/image238.png"/><Relationship Id="rId57" Type="http://schemas.openxmlformats.org/officeDocument/2006/relationships/image" Target="../media/image246.png"/><Relationship Id="rId10" Type="http://schemas.openxmlformats.org/officeDocument/2006/relationships/image" Target="../media/image199.png"/><Relationship Id="rId31" Type="http://schemas.openxmlformats.org/officeDocument/2006/relationships/image" Target="../media/image220.png"/><Relationship Id="rId44" Type="http://schemas.openxmlformats.org/officeDocument/2006/relationships/image" Target="../media/image233.png"/><Relationship Id="rId52" Type="http://schemas.openxmlformats.org/officeDocument/2006/relationships/image" Target="../media/image241.png"/><Relationship Id="rId60" Type="http://schemas.openxmlformats.org/officeDocument/2006/relationships/image" Target="../media/image249.png"/><Relationship Id="rId4" Type="http://schemas.openxmlformats.org/officeDocument/2006/relationships/image" Target="../media/image193.png"/><Relationship Id="rId9" Type="http://schemas.openxmlformats.org/officeDocument/2006/relationships/image" Target="../media/image198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62.png"/><Relationship Id="rId18" Type="http://schemas.openxmlformats.org/officeDocument/2006/relationships/image" Target="../media/image267.png"/><Relationship Id="rId26" Type="http://schemas.openxmlformats.org/officeDocument/2006/relationships/image" Target="../media/image275.png"/><Relationship Id="rId39" Type="http://schemas.openxmlformats.org/officeDocument/2006/relationships/image" Target="../media/image288.png"/><Relationship Id="rId21" Type="http://schemas.openxmlformats.org/officeDocument/2006/relationships/image" Target="../media/image270.png"/><Relationship Id="rId34" Type="http://schemas.openxmlformats.org/officeDocument/2006/relationships/image" Target="../media/image283.png"/><Relationship Id="rId42" Type="http://schemas.openxmlformats.org/officeDocument/2006/relationships/image" Target="../media/image291.png"/><Relationship Id="rId47" Type="http://schemas.openxmlformats.org/officeDocument/2006/relationships/image" Target="../media/image296.png"/><Relationship Id="rId50" Type="http://schemas.openxmlformats.org/officeDocument/2006/relationships/image" Target="../media/image299.png"/><Relationship Id="rId55" Type="http://schemas.openxmlformats.org/officeDocument/2006/relationships/image" Target="../media/image304.png"/><Relationship Id="rId7" Type="http://schemas.openxmlformats.org/officeDocument/2006/relationships/image" Target="../media/image256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65.png"/><Relationship Id="rId29" Type="http://schemas.openxmlformats.org/officeDocument/2006/relationships/image" Target="../media/image278.png"/><Relationship Id="rId11" Type="http://schemas.openxmlformats.org/officeDocument/2006/relationships/image" Target="../media/image260.png"/><Relationship Id="rId24" Type="http://schemas.openxmlformats.org/officeDocument/2006/relationships/image" Target="../media/image273.png"/><Relationship Id="rId32" Type="http://schemas.openxmlformats.org/officeDocument/2006/relationships/image" Target="../media/image281.png"/><Relationship Id="rId37" Type="http://schemas.openxmlformats.org/officeDocument/2006/relationships/image" Target="../media/image286.png"/><Relationship Id="rId40" Type="http://schemas.openxmlformats.org/officeDocument/2006/relationships/image" Target="../media/image289.png"/><Relationship Id="rId45" Type="http://schemas.openxmlformats.org/officeDocument/2006/relationships/image" Target="../media/image294.png"/><Relationship Id="rId53" Type="http://schemas.openxmlformats.org/officeDocument/2006/relationships/image" Target="../media/image302.png"/><Relationship Id="rId58" Type="http://schemas.openxmlformats.org/officeDocument/2006/relationships/image" Target="../media/image307.png"/><Relationship Id="rId5" Type="http://schemas.openxmlformats.org/officeDocument/2006/relationships/image" Target="../media/image254.png"/><Relationship Id="rId61" Type="http://schemas.openxmlformats.org/officeDocument/2006/relationships/image" Target="../media/image310.png"/><Relationship Id="rId19" Type="http://schemas.openxmlformats.org/officeDocument/2006/relationships/image" Target="../media/image268.png"/><Relationship Id="rId14" Type="http://schemas.openxmlformats.org/officeDocument/2006/relationships/image" Target="../media/image263.png"/><Relationship Id="rId22" Type="http://schemas.openxmlformats.org/officeDocument/2006/relationships/image" Target="../media/image271.png"/><Relationship Id="rId27" Type="http://schemas.openxmlformats.org/officeDocument/2006/relationships/image" Target="../media/image276.png"/><Relationship Id="rId30" Type="http://schemas.openxmlformats.org/officeDocument/2006/relationships/image" Target="../media/image279.png"/><Relationship Id="rId35" Type="http://schemas.openxmlformats.org/officeDocument/2006/relationships/image" Target="../media/image284.png"/><Relationship Id="rId43" Type="http://schemas.openxmlformats.org/officeDocument/2006/relationships/image" Target="../media/image292.png"/><Relationship Id="rId48" Type="http://schemas.openxmlformats.org/officeDocument/2006/relationships/image" Target="../media/image297.png"/><Relationship Id="rId56" Type="http://schemas.openxmlformats.org/officeDocument/2006/relationships/image" Target="../media/image305.png"/><Relationship Id="rId8" Type="http://schemas.openxmlformats.org/officeDocument/2006/relationships/image" Target="../media/image257.png"/><Relationship Id="rId51" Type="http://schemas.openxmlformats.org/officeDocument/2006/relationships/image" Target="../media/image300.png"/><Relationship Id="rId3" Type="http://schemas.openxmlformats.org/officeDocument/2006/relationships/image" Target="../media/image252.png"/><Relationship Id="rId12" Type="http://schemas.openxmlformats.org/officeDocument/2006/relationships/image" Target="../media/image261.png"/><Relationship Id="rId17" Type="http://schemas.openxmlformats.org/officeDocument/2006/relationships/image" Target="../media/image266.png"/><Relationship Id="rId25" Type="http://schemas.openxmlformats.org/officeDocument/2006/relationships/image" Target="../media/image274.png"/><Relationship Id="rId33" Type="http://schemas.openxmlformats.org/officeDocument/2006/relationships/image" Target="../media/image282.png"/><Relationship Id="rId38" Type="http://schemas.openxmlformats.org/officeDocument/2006/relationships/image" Target="../media/image287.png"/><Relationship Id="rId46" Type="http://schemas.openxmlformats.org/officeDocument/2006/relationships/image" Target="../media/image295.png"/><Relationship Id="rId59" Type="http://schemas.openxmlformats.org/officeDocument/2006/relationships/image" Target="../media/image308.png"/><Relationship Id="rId20" Type="http://schemas.openxmlformats.org/officeDocument/2006/relationships/image" Target="../media/image269.png"/><Relationship Id="rId41" Type="http://schemas.openxmlformats.org/officeDocument/2006/relationships/image" Target="../media/image290.png"/><Relationship Id="rId54" Type="http://schemas.openxmlformats.org/officeDocument/2006/relationships/image" Target="../media/image303.png"/><Relationship Id="rId62" Type="http://schemas.openxmlformats.org/officeDocument/2006/relationships/image" Target="../media/image31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55.png"/><Relationship Id="rId15" Type="http://schemas.openxmlformats.org/officeDocument/2006/relationships/image" Target="../media/image264.png"/><Relationship Id="rId23" Type="http://schemas.openxmlformats.org/officeDocument/2006/relationships/image" Target="../media/image272.png"/><Relationship Id="rId28" Type="http://schemas.openxmlformats.org/officeDocument/2006/relationships/image" Target="../media/image277.png"/><Relationship Id="rId36" Type="http://schemas.openxmlformats.org/officeDocument/2006/relationships/image" Target="../media/image285.png"/><Relationship Id="rId49" Type="http://schemas.openxmlformats.org/officeDocument/2006/relationships/image" Target="../media/image298.png"/><Relationship Id="rId57" Type="http://schemas.openxmlformats.org/officeDocument/2006/relationships/image" Target="../media/image306.png"/><Relationship Id="rId10" Type="http://schemas.openxmlformats.org/officeDocument/2006/relationships/image" Target="../media/image259.png"/><Relationship Id="rId31" Type="http://schemas.openxmlformats.org/officeDocument/2006/relationships/image" Target="../media/image280.png"/><Relationship Id="rId44" Type="http://schemas.openxmlformats.org/officeDocument/2006/relationships/image" Target="../media/image293.png"/><Relationship Id="rId52" Type="http://schemas.openxmlformats.org/officeDocument/2006/relationships/image" Target="../media/image301.png"/><Relationship Id="rId60" Type="http://schemas.openxmlformats.org/officeDocument/2006/relationships/image" Target="../media/image309.png"/><Relationship Id="rId4" Type="http://schemas.openxmlformats.org/officeDocument/2006/relationships/image" Target="../media/image253.png"/><Relationship Id="rId9" Type="http://schemas.openxmlformats.org/officeDocument/2006/relationships/image" Target="../media/image258.png"/></Relationships>
</file>

<file path=ppt/slides/_rels/slide1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22.png"/><Relationship Id="rId18" Type="http://schemas.openxmlformats.org/officeDocument/2006/relationships/image" Target="../media/image327.png"/><Relationship Id="rId26" Type="http://schemas.openxmlformats.org/officeDocument/2006/relationships/image" Target="../media/image335.png"/><Relationship Id="rId39" Type="http://schemas.openxmlformats.org/officeDocument/2006/relationships/image" Target="../media/image348.png"/><Relationship Id="rId21" Type="http://schemas.openxmlformats.org/officeDocument/2006/relationships/image" Target="../media/image330.png"/><Relationship Id="rId34" Type="http://schemas.openxmlformats.org/officeDocument/2006/relationships/image" Target="../media/image343.png"/><Relationship Id="rId42" Type="http://schemas.openxmlformats.org/officeDocument/2006/relationships/image" Target="../media/image351.png"/><Relationship Id="rId47" Type="http://schemas.openxmlformats.org/officeDocument/2006/relationships/image" Target="../media/image356.png"/><Relationship Id="rId50" Type="http://schemas.openxmlformats.org/officeDocument/2006/relationships/image" Target="../media/image359.png"/><Relationship Id="rId55" Type="http://schemas.openxmlformats.org/officeDocument/2006/relationships/image" Target="../media/image364.png"/><Relationship Id="rId7" Type="http://schemas.openxmlformats.org/officeDocument/2006/relationships/image" Target="../media/image316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325.png"/><Relationship Id="rId29" Type="http://schemas.openxmlformats.org/officeDocument/2006/relationships/image" Target="../media/image338.png"/><Relationship Id="rId11" Type="http://schemas.openxmlformats.org/officeDocument/2006/relationships/image" Target="../media/image320.png"/><Relationship Id="rId24" Type="http://schemas.openxmlformats.org/officeDocument/2006/relationships/image" Target="../media/image333.png"/><Relationship Id="rId32" Type="http://schemas.openxmlformats.org/officeDocument/2006/relationships/image" Target="../media/image341.png"/><Relationship Id="rId37" Type="http://schemas.openxmlformats.org/officeDocument/2006/relationships/image" Target="../media/image346.png"/><Relationship Id="rId40" Type="http://schemas.openxmlformats.org/officeDocument/2006/relationships/image" Target="../media/image349.png"/><Relationship Id="rId45" Type="http://schemas.openxmlformats.org/officeDocument/2006/relationships/image" Target="../media/image354.png"/><Relationship Id="rId53" Type="http://schemas.openxmlformats.org/officeDocument/2006/relationships/image" Target="../media/image362.png"/><Relationship Id="rId58" Type="http://schemas.openxmlformats.org/officeDocument/2006/relationships/image" Target="../media/image367.png"/><Relationship Id="rId5" Type="http://schemas.openxmlformats.org/officeDocument/2006/relationships/image" Target="../media/image314.png"/><Relationship Id="rId61" Type="http://schemas.openxmlformats.org/officeDocument/2006/relationships/image" Target="../media/image370.png"/><Relationship Id="rId19" Type="http://schemas.openxmlformats.org/officeDocument/2006/relationships/image" Target="../media/image328.png"/><Relationship Id="rId14" Type="http://schemas.openxmlformats.org/officeDocument/2006/relationships/image" Target="../media/image323.png"/><Relationship Id="rId22" Type="http://schemas.openxmlformats.org/officeDocument/2006/relationships/image" Target="../media/image331.png"/><Relationship Id="rId27" Type="http://schemas.openxmlformats.org/officeDocument/2006/relationships/image" Target="../media/image336.png"/><Relationship Id="rId30" Type="http://schemas.openxmlformats.org/officeDocument/2006/relationships/image" Target="../media/image339.png"/><Relationship Id="rId35" Type="http://schemas.openxmlformats.org/officeDocument/2006/relationships/image" Target="../media/image344.png"/><Relationship Id="rId43" Type="http://schemas.openxmlformats.org/officeDocument/2006/relationships/image" Target="../media/image352.png"/><Relationship Id="rId48" Type="http://schemas.openxmlformats.org/officeDocument/2006/relationships/image" Target="../media/image357.png"/><Relationship Id="rId56" Type="http://schemas.openxmlformats.org/officeDocument/2006/relationships/image" Target="../media/image365.png"/><Relationship Id="rId8" Type="http://schemas.openxmlformats.org/officeDocument/2006/relationships/image" Target="../media/image317.png"/><Relationship Id="rId51" Type="http://schemas.openxmlformats.org/officeDocument/2006/relationships/image" Target="../media/image360.png"/><Relationship Id="rId3" Type="http://schemas.openxmlformats.org/officeDocument/2006/relationships/image" Target="../media/image312.png"/><Relationship Id="rId12" Type="http://schemas.openxmlformats.org/officeDocument/2006/relationships/image" Target="../media/image321.png"/><Relationship Id="rId17" Type="http://schemas.openxmlformats.org/officeDocument/2006/relationships/image" Target="../media/image326.png"/><Relationship Id="rId25" Type="http://schemas.openxmlformats.org/officeDocument/2006/relationships/image" Target="../media/image334.png"/><Relationship Id="rId33" Type="http://schemas.openxmlformats.org/officeDocument/2006/relationships/image" Target="../media/image342.png"/><Relationship Id="rId38" Type="http://schemas.openxmlformats.org/officeDocument/2006/relationships/image" Target="../media/image347.png"/><Relationship Id="rId46" Type="http://schemas.openxmlformats.org/officeDocument/2006/relationships/image" Target="../media/image355.png"/><Relationship Id="rId59" Type="http://schemas.openxmlformats.org/officeDocument/2006/relationships/image" Target="../media/image368.png"/><Relationship Id="rId20" Type="http://schemas.openxmlformats.org/officeDocument/2006/relationships/image" Target="../media/image329.png"/><Relationship Id="rId41" Type="http://schemas.openxmlformats.org/officeDocument/2006/relationships/image" Target="../media/image350.png"/><Relationship Id="rId54" Type="http://schemas.openxmlformats.org/officeDocument/2006/relationships/image" Target="../media/image363.png"/><Relationship Id="rId62" Type="http://schemas.openxmlformats.org/officeDocument/2006/relationships/image" Target="../media/image37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15.png"/><Relationship Id="rId15" Type="http://schemas.openxmlformats.org/officeDocument/2006/relationships/image" Target="../media/image324.png"/><Relationship Id="rId23" Type="http://schemas.openxmlformats.org/officeDocument/2006/relationships/image" Target="../media/image332.png"/><Relationship Id="rId28" Type="http://schemas.openxmlformats.org/officeDocument/2006/relationships/image" Target="../media/image337.png"/><Relationship Id="rId36" Type="http://schemas.openxmlformats.org/officeDocument/2006/relationships/image" Target="../media/image345.png"/><Relationship Id="rId49" Type="http://schemas.openxmlformats.org/officeDocument/2006/relationships/image" Target="../media/image358.png"/><Relationship Id="rId57" Type="http://schemas.openxmlformats.org/officeDocument/2006/relationships/image" Target="../media/image366.png"/><Relationship Id="rId10" Type="http://schemas.openxmlformats.org/officeDocument/2006/relationships/image" Target="../media/image319.png"/><Relationship Id="rId31" Type="http://schemas.openxmlformats.org/officeDocument/2006/relationships/image" Target="../media/image340.png"/><Relationship Id="rId44" Type="http://schemas.openxmlformats.org/officeDocument/2006/relationships/image" Target="../media/image353.png"/><Relationship Id="rId52" Type="http://schemas.openxmlformats.org/officeDocument/2006/relationships/image" Target="../media/image361.png"/><Relationship Id="rId60" Type="http://schemas.openxmlformats.org/officeDocument/2006/relationships/image" Target="../media/image369.png"/><Relationship Id="rId4" Type="http://schemas.openxmlformats.org/officeDocument/2006/relationships/image" Target="../media/image313.png"/><Relationship Id="rId9" Type="http://schemas.openxmlformats.org/officeDocument/2006/relationships/image" Target="../media/image318.png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image" Target="../media/image382.png"/><Relationship Id="rId18" Type="http://schemas.openxmlformats.org/officeDocument/2006/relationships/image" Target="../media/image387.png"/><Relationship Id="rId26" Type="http://schemas.openxmlformats.org/officeDocument/2006/relationships/image" Target="../media/image395.png"/><Relationship Id="rId39" Type="http://schemas.openxmlformats.org/officeDocument/2006/relationships/image" Target="../media/image408.png"/><Relationship Id="rId21" Type="http://schemas.openxmlformats.org/officeDocument/2006/relationships/image" Target="../media/image390.png"/><Relationship Id="rId34" Type="http://schemas.openxmlformats.org/officeDocument/2006/relationships/image" Target="../media/image403.png"/><Relationship Id="rId42" Type="http://schemas.openxmlformats.org/officeDocument/2006/relationships/image" Target="../media/image411.png"/><Relationship Id="rId47" Type="http://schemas.openxmlformats.org/officeDocument/2006/relationships/image" Target="../media/image416.png"/><Relationship Id="rId50" Type="http://schemas.openxmlformats.org/officeDocument/2006/relationships/image" Target="../media/image419.png"/><Relationship Id="rId55" Type="http://schemas.openxmlformats.org/officeDocument/2006/relationships/image" Target="../media/image424.png"/><Relationship Id="rId7" Type="http://schemas.openxmlformats.org/officeDocument/2006/relationships/image" Target="../media/image376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85.png"/><Relationship Id="rId29" Type="http://schemas.openxmlformats.org/officeDocument/2006/relationships/image" Target="../media/image398.png"/><Relationship Id="rId11" Type="http://schemas.openxmlformats.org/officeDocument/2006/relationships/image" Target="../media/image380.png"/><Relationship Id="rId24" Type="http://schemas.openxmlformats.org/officeDocument/2006/relationships/image" Target="../media/image393.png"/><Relationship Id="rId32" Type="http://schemas.openxmlformats.org/officeDocument/2006/relationships/image" Target="../media/image401.png"/><Relationship Id="rId37" Type="http://schemas.openxmlformats.org/officeDocument/2006/relationships/image" Target="../media/image406.png"/><Relationship Id="rId40" Type="http://schemas.openxmlformats.org/officeDocument/2006/relationships/image" Target="../media/image409.png"/><Relationship Id="rId45" Type="http://schemas.openxmlformats.org/officeDocument/2006/relationships/image" Target="../media/image414.png"/><Relationship Id="rId53" Type="http://schemas.openxmlformats.org/officeDocument/2006/relationships/image" Target="../media/image422.png"/><Relationship Id="rId58" Type="http://schemas.openxmlformats.org/officeDocument/2006/relationships/image" Target="../media/image427.png"/><Relationship Id="rId5" Type="http://schemas.openxmlformats.org/officeDocument/2006/relationships/image" Target="../media/image374.png"/><Relationship Id="rId61" Type="http://schemas.openxmlformats.org/officeDocument/2006/relationships/image" Target="../media/image430.png"/><Relationship Id="rId19" Type="http://schemas.openxmlformats.org/officeDocument/2006/relationships/image" Target="../media/image388.png"/><Relationship Id="rId14" Type="http://schemas.openxmlformats.org/officeDocument/2006/relationships/image" Target="../media/image383.png"/><Relationship Id="rId22" Type="http://schemas.openxmlformats.org/officeDocument/2006/relationships/image" Target="../media/image391.png"/><Relationship Id="rId27" Type="http://schemas.openxmlformats.org/officeDocument/2006/relationships/image" Target="../media/image396.png"/><Relationship Id="rId30" Type="http://schemas.openxmlformats.org/officeDocument/2006/relationships/image" Target="../media/image399.png"/><Relationship Id="rId35" Type="http://schemas.openxmlformats.org/officeDocument/2006/relationships/image" Target="../media/image404.png"/><Relationship Id="rId43" Type="http://schemas.openxmlformats.org/officeDocument/2006/relationships/image" Target="../media/image412.png"/><Relationship Id="rId48" Type="http://schemas.openxmlformats.org/officeDocument/2006/relationships/image" Target="../media/image417.png"/><Relationship Id="rId56" Type="http://schemas.openxmlformats.org/officeDocument/2006/relationships/image" Target="../media/image425.png"/><Relationship Id="rId8" Type="http://schemas.openxmlformats.org/officeDocument/2006/relationships/image" Target="../media/image377.png"/><Relationship Id="rId51" Type="http://schemas.openxmlformats.org/officeDocument/2006/relationships/image" Target="../media/image420.png"/><Relationship Id="rId3" Type="http://schemas.openxmlformats.org/officeDocument/2006/relationships/image" Target="../media/image372.png"/><Relationship Id="rId12" Type="http://schemas.openxmlformats.org/officeDocument/2006/relationships/image" Target="../media/image381.png"/><Relationship Id="rId17" Type="http://schemas.openxmlformats.org/officeDocument/2006/relationships/image" Target="../media/image386.png"/><Relationship Id="rId25" Type="http://schemas.openxmlformats.org/officeDocument/2006/relationships/image" Target="../media/image394.png"/><Relationship Id="rId33" Type="http://schemas.openxmlformats.org/officeDocument/2006/relationships/image" Target="../media/image402.png"/><Relationship Id="rId38" Type="http://schemas.openxmlformats.org/officeDocument/2006/relationships/image" Target="../media/image407.png"/><Relationship Id="rId46" Type="http://schemas.openxmlformats.org/officeDocument/2006/relationships/image" Target="../media/image415.png"/><Relationship Id="rId59" Type="http://schemas.openxmlformats.org/officeDocument/2006/relationships/image" Target="../media/image428.png"/><Relationship Id="rId20" Type="http://schemas.openxmlformats.org/officeDocument/2006/relationships/image" Target="../media/image389.png"/><Relationship Id="rId41" Type="http://schemas.openxmlformats.org/officeDocument/2006/relationships/image" Target="../media/image410.png"/><Relationship Id="rId54" Type="http://schemas.openxmlformats.org/officeDocument/2006/relationships/image" Target="../media/image423.png"/><Relationship Id="rId62" Type="http://schemas.openxmlformats.org/officeDocument/2006/relationships/image" Target="../media/image43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75.png"/><Relationship Id="rId15" Type="http://schemas.openxmlformats.org/officeDocument/2006/relationships/image" Target="../media/image384.png"/><Relationship Id="rId23" Type="http://schemas.openxmlformats.org/officeDocument/2006/relationships/image" Target="../media/image392.png"/><Relationship Id="rId28" Type="http://schemas.openxmlformats.org/officeDocument/2006/relationships/image" Target="../media/image397.png"/><Relationship Id="rId36" Type="http://schemas.openxmlformats.org/officeDocument/2006/relationships/image" Target="../media/image405.png"/><Relationship Id="rId49" Type="http://schemas.openxmlformats.org/officeDocument/2006/relationships/image" Target="../media/image418.png"/><Relationship Id="rId57" Type="http://schemas.openxmlformats.org/officeDocument/2006/relationships/image" Target="../media/image426.png"/><Relationship Id="rId10" Type="http://schemas.openxmlformats.org/officeDocument/2006/relationships/image" Target="../media/image379.png"/><Relationship Id="rId31" Type="http://schemas.openxmlformats.org/officeDocument/2006/relationships/image" Target="../media/image400.png"/><Relationship Id="rId44" Type="http://schemas.openxmlformats.org/officeDocument/2006/relationships/image" Target="../media/image413.png"/><Relationship Id="rId52" Type="http://schemas.openxmlformats.org/officeDocument/2006/relationships/image" Target="../media/image421.png"/><Relationship Id="rId60" Type="http://schemas.openxmlformats.org/officeDocument/2006/relationships/image" Target="../media/image429.png"/><Relationship Id="rId4" Type="http://schemas.openxmlformats.org/officeDocument/2006/relationships/image" Target="../media/image373.png"/><Relationship Id="rId9" Type="http://schemas.openxmlformats.org/officeDocument/2006/relationships/image" Target="../media/image378.png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42.png"/><Relationship Id="rId18" Type="http://schemas.openxmlformats.org/officeDocument/2006/relationships/image" Target="../media/image447.png"/><Relationship Id="rId26" Type="http://schemas.openxmlformats.org/officeDocument/2006/relationships/image" Target="../media/image455.png"/><Relationship Id="rId39" Type="http://schemas.openxmlformats.org/officeDocument/2006/relationships/image" Target="../media/image468.png"/><Relationship Id="rId21" Type="http://schemas.openxmlformats.org/officeDocument/2006/relationships/image" Target="../media/image450.png"/><Relationship Id="rId34" Type="http://schemas.openxmlformats.org/officeDocument/2006/relationships/image" Target="../media/image463.png"/><Relationship Id="rId42" Type="http://schemas.openxmlformats.org/officeDocument/2006/relationships/image" Target="../media/image471.png"/><Relationship Id="rId47" Type="http://schemas.openxmlformats.org/officeDocument/2006/relationships/image" Target="../media/image476.png"/><Relationship Id="rId50" Type="http://schemas.openxmlformats.org/officeDocument/2006/relationships/image" Target="../media/image479.png"/><Relationship Id="rId55" Type="http://schemas.openxmlformats.org/officeDocument/2006/relationships/image" Target="../media/image484.png"/><Relationship Id="rId7" Type="http://schemas.openxmlformats.org/officeDocument/2006/relationships/image" Target="../media/image436.pn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45.png"/><Relationship Id="rId29" Type="http://schemas.openxmlformats.org/officeDocument/2006/relationships/image" Target="../media/image458.png"/><Relationship Id="rId11" Type="http://schemas.openxmlformats.org/officeDocument/2006/relationships/image" Target="../media/image440.png"/><Relationship Id="rId24" Type="http://schemas.openxmlformats.org/officeDocument/2006/relationships/image" Target="../media/image453.png"/><Relationship Id="rId32" Type="http://schemas.openxmlformats.org/officeDocument/2006/relationships/image" Target="../media/image461.png"/><Relationship Id="rId37" Type="http://schemas.openxmlformats.org/officeDocument/2006/relationships/image" Target="../media/image466.png"/><Relationship Id="rId40" Type="http://schemas.openxmlformats.org/officeDocument/2006/relationships/image" Target="../media/image469.png"/><Relationship Id="rId45" Type="http://schemas.openxmlformats.org/officeDocument/2006/relationships/image" Target="../media/image474.png"/><Relationship Id="rId53" Type="http://schemas.openxmlformats.org/officeDocument/2006/relationships/image" Target="../media/image482.png"/><Relationship Id="rId58" Type="http://schemas.openxmlformats.org/officeDocument/2006/relationships/image" Target="../media/image487.png"/><Relationship Id="rId5" Type="http://schemas.openxmlformats.org/officeDocument/2006/relationships/image" Target="../media/image434.png"/><Relationship Id="rId61" Type="http://schemas.openxmlformats.org/officeDocument/2006/relationships/image" Target="../media/image490.png"/><Relationship Id="rId19" Type="http://schemas.openxmlformats.org/officeDocument/2006/relationships/image" Target="../media/image448.png"/><Relationship Id="rId14" Type="http://schemas.openxmlformats.org/officeDocument/2006/relationships/image" Target="../media/image443.png"/><Relationship Id="rId22" Type="http://schemas.openxmlformats.org/officeDocument/2006/relationships/image" Target="../media/image451.png"/><Relationship Id="rId27" Type="http://schemas.openxmlformats.org/officeDocument/2006/relationships/image" Target="../media/image456.png"/><Relationship Id="rId30" Type="http://schemas.openxmlformats.org/officeDocument/2006/relationships/image" Target="../media/image459.png"/><Relationship Id="rId35" Type="http://schemas.openxmlformats.org/officeDocument/2006/relationships/image" Target="../media/image464.png"/><Relationship Id="rId43" Type="http://schemas.openxmlformats.org/officeDocument/2006/relationships/image" Target="../media/image472.png"/><Relationship Id="rId48" Type="http://schemas.openxmlformats.org/officeDocument/2006/relationships/image" Target="../media/image477.png"/><Relationship Id="rId56" Type="http://schemas.openxmlformats.org/officeDocument/2006/relationships/image" Target="../media/image485.png"/><Relationship Id="rId8" Type="http://schemas.openxmlformats.org/officeDocument/2006/relationships/image" Target="../media/image437.png"/><Relationship Id="rId51" Type="http://schemas.openxmlformats.org/officeDocument/2006/relationships/image" Target="../media/image480.png"/><Relationship Id="rId3" Type="http://schemas.openxmlformats.org/officeDocument/2006/relationships/image" Target="../media/image432.png"/><Relationship Id="rId12" Type="http://schemas.openxmlformats.org/officeDocument/2006/relationships/image" Target="../media/image441.png"/><Relationship Id="rId17" Type="http://schemas.openxmlformats.org/officeDocument/2006/relationships/image" Target="../media/image446.png"/><Relationship Id="rId25" Type="http://schemas.openxmlformats.org/officeDocument/2006/relationships/image" Target="../media/image454.png"/><Relationship Id="rId33" Type="http://schemas.openxmlformats.org/officeDocument/2006/relationships/image" Target="../media/image462.png"/><Relationship Id="rId38" Type="http://schemas.openxmlformats.org/officeDocument/2006/relationships/image" Target="../media/image467.png"/><Relationship Id="rId46" Type="http://schemas.openxmlformats.org/officeDocument/2006/relationships/image" Target="../media/image475.png"/><Relationship Id="rId59" Type="http://schemas.openxmlformats.org/officeDocument/2006/relationships/image" Target="../media/image488.png"/><Relationship Id="rId20" Type="http://schemas.openxmlformats.org/officeDocument/2006/relationships/image" Target="../media/image449.png"/><Relationship Id="rId41" Type="http://schemas.openxmlformats.org/officeDocument/2006/relationships/image" Target="../media/image470.png"/><Relationship Id="rId54" Type="http://schemas.openxmlformats.org/officeDocument/2006/relationships/image" Target="../media/image483.png"/><Relationship Id="rId62" Type="http://schemas.openxmlformats.org/officeDocument/2006/relationships/image" Target="../media/image491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35.png"/><Relationship Id="rId15" Type="http://schemas.openxmlformats.org/officeDocument/2006/relationships/image" Target="../media/image444.png"/><Relationship Id="rId23" Type="http://schemas.openxmlformats.org/officeDocument/2006/relationships/image" Target="../media/image452.png"/><Relationship Id="rId28" Type="http://schemas.openxmlformats.org/officeDocument/2006/relationships/image" Target="../media/image457.png"/><Relationship Id="rId36" Type="http://schemas.openxmlformats.org/officeDocument/2006/relationships/image" Target="../media/image465.png"/><Relationship Id="rId49" Type="http://schemas.openxmlformats.org/officeDocument/2006/relationships/image" Target="../media/image478.png"/><Relationship Id="rId57" Type="http://schemas.openxmlformats.org/officeDocument/2006/relationships/image" Target="../media/image486.png"/><Relationship Id="rId10" Type="http://schemas.openxmlformats.org/officeDocument/2006/relationships/image" Target="../media/image439.png"/><Relationship Id="rId31" Type="http://schemas.openxmlformats.org/officeDocument/2006/relationships/image" Target="../media/image460.png"/><Relationship Id="rId44" Type="http://schemas.openxmlformats.org/officeDocument/2006/relationships/image" Target="../media/image473.png"/><Relationship Id="rId52" Type="http://schemas.openxmlformats.org/officeDocument/2006/relationships/image" Target="../media/image481.png"/><Relationship Id="rId60" Type="http://schemas.openxmlformats.org/officeDocument/2006/relationships/image" Target="../media/image489.png"/><Relationship Id="rId4" Type="http://schemas.openxmlformats.org/officeDocument/2006/relationships/image" Target="../media/image433.png"/><Relationship Id="rId9" Type="http://schemas.openxmlformats.org/officeDocument/2006/relationships/image" Target="../media/image438.png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image" Target="../media/image502.png"/><Relationship Id="rId18" Type="http://schemas.openxmlformats.org/officeDocument/2006/relationships/image" Target="../media/image507.png"/><Relationship Id="rId26" Type="http://schemas.openxmlformats.org/officeDocument/2006/relationships/image" Target="../media/image515.png"/><Relationship Id="rId39" Type="http://schemas.openxmlformats.org/officeDocument/2006/relationships/image" Target="../media/image528.png"/><Relationship Id="rId21" Type="http://schemas.openxmlformats.org/officeDocument/2006/relationships/image" Target="../media/image510.png"/><Relationship Id="rId34" Type="http://schemas.openxmlformats.org/officeDocument/2006/relationships/image" Target="../media/image523.png"/><Relationship Id="rId42" Type="http://schemas.openxmlformats.org/officeDocument/2006/relationships/image" Target="../media/image531.png"/><Relationship Id="rId47" Type="http://schemas.openxmlformats.org/officeDocument/2006/relationships/image" Target="../media/image536.png"/><Relationship Id="rId7" Type="http://schemas.openxmlformats.org/officeDocument/2006/relationships/image" Target="../media/image496.pn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505.png"/><Relationship Id="rId29" Type="http://schemas.openxmlformats.org/officeDocument/2006/relationships/image" Target="../media/image518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95.png"/><Relationship Id="rId11" Type="http://schemas.openxmlformats.org/officeDocument/2006/relationships/image" Target="../media/image500.png"/><Relationship Id="rId24" Type="http://schemas.openxmlformats.org/officeDocument/2006/relationships/image" Target="../media/image513.png"/><Relationship Id="rId32" Type="http://schemas.openxmlformats.org/officeDocument/2006/relationships/image" Target="../media/image521.png"/><Relationship Id="rId37" Type="http://schemas.openxmlformats.org/officeDocument/2006/relationships/image" Target="../media/image526.png"/><Relationship Id="rId40" Type="http://schemas.openxmlformats.org/officeDocument/2006/relationships/image" Target="../media/image529.png"/><Relationship Id="rId45" Type="http://schemas.openxmlformats.org/officeDocument/2006/relationships/image" Target="../media/image534.png"/><Relationship Id="rId5" Type="http://schemas.openxmlformats.org/officeDocument/2006/relationships/image" Target="../media/image494.png"/><Relationship Id="rId15" Type="http://schemas.openxmlformats.org/officeDocument/2006/relationships/image" Target="../media/image504.png"/><Relationship Id="rId23" Type="http://schemas.openxmlformats.org/officeDocument/2006/relationships/image" Target="../media/image512.png"/><Relationship Id="rId28" Type="http://schemas.openxmlformats.org/officeDocument/2006/relationships/image" Target="../media/image517.png"/><Relationship Id="rId36" Type="http://schemas.openxmlformats.org/officeDocument/2006/relationships/image" Target="../media/image525.png"/><Relationship Id="rId10" Type="http://schemas.openxmlformats.org/officeDocument/2006/relationships/image" Target="../media/image499.png"/><Relationship Id="rId19" Type="http://schemas.openxmlformats.org/officeDocument/2006/relationships/image" Target="../media/image508.png"/><Relationship Id="rId31" Type="http://schemas.openxmlformats.org/officeDocument/2006/relationships/image" Target="../media/image520.png"/><Relationship Id="rId44" Type="http://schemas.openxmlformats.org/officeDocument/2006/relationships/image" Target="../media/image533.png"/><Relationship Id="rId4" Type="http://schemas.openxmlformats.org/officeDocument/2006/relationships/image" Target="../media/image493.png"/><Relationship Id="rId9" Type="http://schemas.openxmlformats.org/officeDocument/2006/relationships/image" Target="../media/image498.png"/><Relationship Id="rId14" Type="http://schemas.openxmlformats.org/officeDocument/2006/relationships/image" Target="../media/image503.png"/><Relationship Id="rId22" Type="http://schemas.openxmlformats.org/officeDocument/2006/relationships/image" Target="../media/image511.png"/><Relationship Id="rId27" Type="http://schemas.openxmlformats.org/officeDocument/2006/relationships/image" Target="../media/image516.png"/><Relationship Id="rId30" Type="http://schemas.openxmlformats.org/officeDocument/2006/relationships/image" Target="../media/image519.png"/><Relationship Id="rId35" Type="http://schemas.openxmlformats.org/officeDocument/2006/relationships/image" Target="../media/image524.png"/><Relationship Id="rId43" Type="http://schemas.openxmlformats.org/officeDocument/2006/relationships/image" Target="../media/image532.png"/><Relationship Id="rId8" Type="http://schemas.openxmlformats.org/officeDocument/2006/relationships/image" Target="../media/image497.png"/><Relationship Id="rId3" Type="http://schemas.openxmlformats.org/officeDocument/2006/relationships/image" Target="../media/image492.png"/><Relationship Id="rId12" Type="http://schemas.openxmlformats.org/officeDocument/2006/relationships/image" Target="../media/image501.png"/><Relationship Id="rId17" Type="http://schemas.openxmlformats.org/officeDocument/2006/relationships/image" Target="../media/image506.png"/><Relationship Id="rId25" Type="http://schemas.openxmlformats.org/officeDocument/2006/relationships/image" Target="../media/image514.png"/><Relationship Id="rId33" Type="http://schemas.openxmlformats.org/officeDocument/2006/relationships/image" Target="../media/image522.png"/><Relationship Id="rId38" Type="http://schemas.openxmlformats.org/officeDocument/2006/relationships/image" Target="../media/image527.png"/><Relationship Id="rId46" Type="http://schemas.openxmlformats.org/officeDocument/2006/relationships/image" Target="../media/image535.png"/><Relationship Id="rId20" Type="http://schemas.openxmlformats.org/officeDocument/2006/relationships/image" Target="../media/image509.png"/><Relationship Id="rId41" Type="http://schemas.openxmlformats.org/officeDocument/2006/relationships/image" Target="../media/image5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2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jpeg"/><Relationship Id="rId5" Type="http://schemas.openxmlformats.org/officeDocument/2006/relationships/image" Target="../media/image10.png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3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897846" y="2527291"/>
            <a:ext cx="8447642" cy="1158881"/>
          </a:xfrm>
          <a:solidFill>
            <a:schemeClr val="bg2"/>
          </a:solidFill>
        </p:spPr>
        <p:txBody>
          <a:bodyPr>
            <a:normAutofit fontScale="90000"/>
          </a:bodyPr>
          <a:lstStyle/>
          <a:p>
            <a:pPr algn="l"/>
            <a:r>
              <a:rPr lang="ru-RU" sz="2714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линное название проекта</a:t>
            </a:r>
            <a:br>
              <a:rPr lang="ru-RU" sz="2714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2714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ДК «</a:t>
            </a:r>
            <a:r>
              <a:rPr lang="ru-RU" sz="2714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Аэронет</a:t>
            </a:r>
            <a:r>
              <a:rPr lang="ru-RU" sz="2714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»</a:t>
            </a:r>
            <a:br>
              <a:rPr lang="ru-RU" sz="2714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2714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СКВОТ «Большие данные»</a:t>
            </a:r>
            <a:r>
              <a:rPr lang="ru-RU" sz="3214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/>
            </a:r>
            <a:br>
              <a:rPr lang="ru-RU" sz="3214" b="1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ru-RU" sz="20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3/2019)</a:t>
            </a:r>
          </a:p>
        </p:txBody>
      </p:sp>
      <p:pic>
        <p:nvPicPr>
          <p:cNvPr id="1026" name="Picture 2" descr="http://www.spbstu.ru/upload/medialibrary/376/7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00" r="61861" b="20251"/>
          <a:stretch/>
        </p:blipFill>
        <p:spPr bwMode="auto">
          <a:xfrm>
            <a:off x="7257256" y="292012"/>
            <a:ext cx="1728192" cy="18408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167" y="724058"/>
            <a:ext cx="2550319" cy="642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4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5638"/>
          <a:stretch/>
        </p:blipFill>
        <p:spPr bwMode="auto">
          <a:xfrm>
            <a:off x="920553" y="3975308"/>
            <a:ext cx="3998842" cy="1447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920552" y="4406252"/>
            <a:ext cx="5078634" cy="46615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29" dirty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Программа поддержки</a:t>
            </a:r>
            <a:r>
              <a:rPr lang="ru-RU" sz="2429" dirty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: </a:t>
            </a:r>
            <a:r>
              <a:rPr lang="ru-RU" sz="2429" b="1" dirty="0"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rPr>
              <a:t>Экспорт НТИ </a:t>
            </a:r>
            <a:endParaRPr lang="ru-RU" sz="2429" b="1" dirty="0">
              <a:latin typeface="Calibri Light" panose="020F0302020204030204" pitchFamily="34" charset="0"/>
              <a:ea typeface="+mj-ea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82126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26504" y="2521117"/>
            <a:ext cx="5785759" cy="1456767"/>
          </a:xfrm>
        </p:spPr>
        <p:txBody>
          <a:bodyPr/>
          <a:lstStyle/>
          <a:p>
            <a:r>
              <a:rPr lang="ru-RU" dirty="0"/>
              <a:t>Спасибо за внимание!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26504" y="3493586"/>
            <a:ext cx="5785759" cy="1314450"/>
          </a:xfrm>
        </p:spPr>
        <p:txBody>
          <a:bodyPr>
            <a:norm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123242, Москва, Малый </a:t>
            </a:r>
            <a:r>
              <a:rPr lang="ru-RU" dirty="0" err="1">
                <a:solidFill>
                  <a:schemeClr val="bg1"/>
                </a:solidFill>
              </a:rPr>
              <a:t>Конюшковский</a:t>
            </a:r>
            <a:r>
              <a:rPr lang="ru-RU" dirty="0">
                <a:solidFill>
                  <a:schemeClr val="bg1"/>
                </a:solidFill>
              </a:rPr>
              <a:t> переулок, д. 2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de-DE" dirty="0">
                <a:solidFill>
                  <a:schemeClr val="bg1"/>
                </a:solidFill>
              </a:rPr>
              <a:t>+7 495 </a:t>
            </a:r>
            <a:r>
              <a:rPr lang="de-DE" dirty="0" smtClean="0">
                <a:solidFill>
                  <a:schemeClr val="bg1"/>
                </a:solidFill>
              </a:rPr>
              <a:t>690-91-29, +7 </a:t>
            </a:r>
            <a:r>
              <a:rPr lang="de-DE" dirty="0">
                <a:solidFill>
                  <a:schemeClr val="bg1"/>
                </a:solidFill>
              </a:rPr>
              <a:t>495 690-91-39</a:t>
            </a:r>
            <a:br>
              <a:rPr lang="de-DE" dirty="0">
                <a:solidFill>
                  <a:schemeClr val="bg1"/>
                </a:solidFill>
              </a:rPr>
            </a:br>
            <a:r>
              <a:rPr lang="de-DE" dirty="0" err="1" smtClean="0">
                <a:solidFill>
                  <a:schemeClr val="bg1"/>
                </a:solidFill>
              </a:rPr>
              <a:t>nti</a:t>
            </a:r>
            <a:r>
              <a:rPr lang="ru-RU" dirty="0" smtClean="0">
                <a:solidFill>
                  <a:schemeClr val="bg1"/>
                </a:solidFill>
              </a:rPr>
              <a:t>2035</a:t>
            </a:r>
            <a:r>
              <a:rPr lang="de-DE" dirty="0" smtClean="0">
                <a:solidFill>
                  <a:schemeClr val="bg1"/>
                </a:solidFill>
              </a:rPr>
              <a:t>@</a:t>
            </a:r>
            <a:r>
              <a:rPr lang="en-US" dirty="0" err="1" smtClean="0">
                <a:solidFill>
                  <a:schemeClr val="bg1"/>
                </a:solidFill>
              </a:rPr>
              <a:t>asi</a:t>
            </a:r>
            <a:r>
              <a:rPr lang="de-DE" dirty="0" smtClean="0">
                <a:solidFill>
                  <a:schemeClr val="bg1"/>
                </a:solidFill>
              </a:rPr>
              <a:t>.</a:t>
            </a:r>
            <a:r>
              <a:rPr lang="de-DE" dirty="0" err="1" smtClean="0">
                <a:solidFill>
                  <a:schemeClr val="bg1"/>
                </a:solidFill>
              </a:rPr>
              <a:t>ru</a:t>
            </a:r>
            <a:endParaRPr lang="ru-RU" dirty="0">
              <a:solidFill>
                <a:schemeClr val="bg1"/>
              </a:solidFill>
            </a:endParaRPr>
          </a:p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2017 © Национальная технологическая инициатив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5052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06.2019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1</a:t>
            </a:fld>
            <a:endParaRPr lang="ru-RU" dirty="0"/>
          </a:p>
        </p:txBody>
      </p:sp>
      <p:pic>
        <p:nvPicPr>
          <p:cNvPr id="9" name="Picture 86" descr="C:\Users\pankratov.in\YandexDisk\!NTI\DOCS\ProjectPresentation\icons\PNG\256\32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9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7" descr="C:\Users\pankratov.in\YandexDisk\!NTI\DOCS\ProjectPresentation\icons\PNG\256\24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1872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8" descr="C:\Users\pankratov.in\YandexDisk\!NTI\DOCS\ProjectPresentation\icons\PNG\256\24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51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9" descr="C:\Users\pankratov.in\YandexDisk\!NTI\DOCS\ProjectPresentation\icons\PNG\256\24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2720" y="19080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0" descr="C:\Users\pankratov.in\YandexDisk\!NTI\DOCS\ProjectPresentation\icons\PNG\256\24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5963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1" descr="C:\Users\pankratov.in\YandexDisk\!NTI\DOCS\ProjectPresentation\icons\PNG\256\24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569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2" descr="C:\Users\pankratov.in\YandexDisk\!NTI\DOCS\ProjectPresentation\icons\PNG\256\24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79" y="1872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3" descr="C:\Users\pankratov.in\YandexDisk\!NTI\DOCS\ProjectPresentation\icons\PNG\256\24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89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4" descr="C:\Users\pankratov.in\YandexDisk\!NTI\DOCS\ProjectPresentation\icons\PNG\256\24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754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5" descr="C:\Users\pankratov.in\YandexDisk\!NTI\DOCS\ProjectPresentation\icons\PNG\256\24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45" y="27555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6" descr="C:\Users\pankratov.in\YandexDisk\!NTI\DOCS\ProjectPresentation\icons\PNG\256\25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190" y="186311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7" descr="C:\Users\pankratov.in\YandexDisk\!NTI\DOCS\ProjectPresentation\icons\PNG\256\25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302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8" descr="C:\Users\pankratov.in\YandexDisk\!NTI\DOCS\ProjectPresentation\icons\PNG\256\25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99" descr="C:\Users\pankratov.in\YandexDisk\!NTI\DOCS\ProjectPresentation\icons\PNG\256\25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060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0" descr="C:\Users\pankratov.in\YandexDisk\!NTI\DOCS\ProjectPresentation\icons\PNG\256\25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425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1" descr="C:\Users\pankratov.in\YandexDisk\!NTI\DOCS\ProjectPresentation\icons\PNG\256\25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448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02" descr="C:\Users\pankratov.in\YandexDisk\!NTI\DOCS\ProjectPresentation\icons\PNG\256\25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956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3" descr="C:\Users\pankratov.in\YandexDisk\!NTI\DOCS\ProjectPresentation\icons\PNG\256\25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327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4" descr="C:\Users\pankratov.in\YandexDisk\!NTI\DOCS\ProjectPresentation\icons\PNG\256\25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04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5" descr="C:\Users\pankratov.in\YandexDisk\!NTI\DOCS\ProjectPresentation\icons\PNG\256\25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875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06" descr="C:\Users\pankratov.in\YandexDisk\!NTI\DOCS\ProjectPresentation\icons\PNG\256\36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19227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07" descr="C:\Users\pankratov.in\YandexDisk\!NTI\DOCS\ProjectPresentation\icons\PNG\256\36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08" descr="C:\Users\pankratov.in\YandexDisk\!NTI\DOCS\ProjectPresentation\icons\PNG\256\36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209" descr="C:\Users\pankratov.in\YandexDisk\!NTI\DOCS\ProjectPresentation\icons\PNG\256\36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254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210" descr="C:\Users\pankratov.in\YandexDisk\!NTI\DOCS\ProjectPresentation\icons\PNG\256\36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310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211" descr="C:\Users\pankratov.in\YandexDisk\!NTI\DOCS\ProjectPresentation\icons\PNG\256\36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571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12" descr="C:\Users\pankratov.in\YandexDisk\!NTI\DOCS\ProjectPresentation\icons\PNG\256\36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2281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213" descr="C:\Users\pankratov.in\YandexDisk\!NTI\DOCS\ProjectPresentation\icons\PNG\256\36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214" descr="C:\Users\pankratov.in\YandexDisk\!NTI\DOCS\ProjectPresentation\icons\PNG\256\36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5615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215" descr="C:\Users\pankratov.in\YandexDisk\!NTI\DOCS\ProjectPresentation\icons\PNG\256\36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480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16" descr="C:\Users\pankratov.in\YandexDisk\!NTI\DOCS\ProjectPresentation\icons\PNG\256\37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38" y="54852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17" descr="C:\Users\pankratov.in\YandexDisk\!NTI\DOCS\ProjectPresentation\icons\PNG\256\37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45307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18" descr="C:\Users\pankratov.in\YandexDisk\!NTI\DOCS\ProjectPresentation\icons\PNG\256\37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35" y="45716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219" descr="C:\Users\pankratov.in\YandexDisk\!NTI\DOCS\ProjectPresentation\icons\PNG\256\37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9522" y="45361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20" descr="C:\Users\pankratov.in\YandexDisk\!NTI\DOCS\ProjectPresentation\icons\PNG\256\37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3232" y="45716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21" descr="C:\Users\pankratov.in\YandexDisk\!NTI\DOCS\ProjectPresentation\icons\PNG\256\37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8571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222" descr="C:\Users\pankratov.in\YandexDisk\!NTI\DOCS\ProjectPresentation\icons\PNG\256\37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2414" y="454886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223" descr="C:\Users\pankratov.in\YandexDisk\!NTI\DOCS\ProjectPresentation\icons\PNG\256\37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1905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224" descr="C:\Users\pankratov.in\YandexDisk\!NTI\DOCS\ProjectPresentation\icons\PNG\256\37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2463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225" descr="C:\Users\pankratov.in\YandexDisk\!NTI\DOCS\ProjectPresentation\icons\PNG\256\37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6480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226" descr="C:\Users\pankratov.in\YandexDisk\!NTI\DOCS\ProjectPresentation\icons\PNG\256\38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5708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227" descr="C:\Users\pankratov.in\YandexDisk\!NTI\DOCS\ProjectPresentation\icons\PNG\256\38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97303" y="361124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228" descr="C:\Users\pankratov.in\YandexDisk\!NTI\DOCS\ProjectPresentation\icons\PNG\256\38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361124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229" descr="C:\Users\pankratov.in\YandexDisk\!NTI\DOCS\ProjectPresentation\icons\PNG\256\38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9381" y="36465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230" descr="C:\Users\pankratov.in\YandexDisk\!NTI\DOCS\ProjectPresentation\icons\PNG\256\38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8461" y="36465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231" descr="C:\Users\pankratov.in\YandexDisk\!NTI\DOCS\ProjectPresentation\icons\PNG\256\38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6019" y="36445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232" descr="C:\Users\pankratov.in\YandexDisk\!NTI\DOCS\ProjectPresentation\icons\PNG\256\38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195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33" descr="C:\Users\pankratov.in\YandexDisk\!NTI\DOCS\ProjectPresentation\icons\PNG\256\38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8753" y="36445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34" descr="C:\Users\pankratov.in\YandexDisk\!NTI\DOCS\ProjectPresentation\icons\PNG\256\38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6989" y="364370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235" descr="C:\Users\pankratov.in\YandexDisk\!NTI\DOCS\ProjectPresentation\icons\PNG\256\38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4439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236" descr="C:\Users\pankratov.in\YandexDisk\!NTI\DOCS\ProjectPresentation\icons\PNG\256\39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245" y="36417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237" descr="C:\Users\pankratov.in\YandexDisk\!NTI\DOCS\ProjectPresentation\icons\PNG\256\39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14302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238" descr="C:\Users\pankratov.in\YandexDisk\!NTI\DOCS\ProjectPresentation\icons\PNG\256\39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76890" y="277837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239" descr="C:\Users\pankratov.in\YandexDisk\!NTI\DOCS\ProjectPresentation\icons\PNG\256\39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4751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240" descr="C:\Users\pankratov.in\YandexDisk\!NTI\DOCS\ProjectPresentation\icons\PNG\256\39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309" y="278569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7" name="Picture 241" descr="C:\Users\pankratov.in\YandexDisk\!NTI\DOCS\ProjectPresentation\icons\PNG\256\39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9855" y="277837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8" name="Picture 242" descr="C:\Users\pankratov.in\YandexDisk\!NTI\DOCS\ProjectPresentation\icons\PNG\256\39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5043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9" name="Picture 243" descr="C:\Users\pankratov.in\YandexDisk\!NTI\DOCS\ProjectPresentation\icons\PNG\256\39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7909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0" name="Picture 244" descr="C:\Users\pankratov.in\YandexDisk\!NTI\DOCS\ProjectPresentation\icons\PNG\256\39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2359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245" descr="C:\Users\pankratov.in\YandexDisk\!NTI\DOCS\ProjectPresentation\icons\PNG\256\39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494" y="276375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1601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06.2019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2</a:t>
            </a:fld>
            <a:endParaRPr lang="ru-RU" dirty="0"/>
          </a:p>
        </p:txBody>
      </p:sp>
      <p:pic>
        <p:nvPicPr>
          <p:cNvPr id="72" name="Picture 166" descr="C:\Users\pankratov.in\YandexDisk\!NTI\DOCS\ProjectPresentation\icons\PNG\256\4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925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167" descr="C:\Users\pankratov.in\YandexDisk\!NTI\DOCS\ProjectPresentation\icons\PNG\256\32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4" name="Picture 168" descr="C:\Users\pankratov.in\YandexDisk\!NTI\DOCS\ProjectPresentation\icons\PNG\256\32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782" y="360022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169" descr="C:\Users\pankratov.in\YandexDisk\!NTI\DOCS\ProjectPresentation\icons\PNG\256\32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81817" y="360022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170" descr="C:\Users\pankratov.in\YandexDisk\!NTI\DOCS\ProjectPresentation\icons\PNG\256\32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35240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171" descr="C:\Users\pankratov.in\YandexDisk\!NTI\DOCS\ProjectPresentation\icons\PNG\256\32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99702" y="35811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172" descr="C:\Users\pankratov.in\YandexDisk\!NTI\DOCS\ProjectPresentation\icons\PNG\256\32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3623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173" descr="C:\Users\pankratov.in\YandexDisk\!NTI\DOCS\ProjectPresentation\icons\PNG\256\32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174" descr="C:\Users\pankratov.in\YandexDisk\!NTI\DOCS\ProjectPresentation\icons\PNG\256\32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261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Picture 175" descr="C:\Users\pankratov.in\YandexDisk\!NTI\DOCS\ProjectPresentation\icons\PNG\256\32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4789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2" name="Picture 176" descr="C:\Users\pankratov.in\YandexDisk\!NTI\DOCS\ProjectPresentation\icons\PNG\256\33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354307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177" descr="C:\Users\pankratov.in\YandexDisk\!NTI\DOCS\ProjectPresentation\icons\PNG\256\33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179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Picture 178" descr="C:\Users\pankratov.in\YandexDisk\!NTI\DOCS\ProjectPresentation\icons\PNG\256\33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1739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5" name="Picture 179" descr="C:\Users\pankratov.in\YandexDisk\!NTI\DOCS\ProjectPresentation\icons\PNG\256\33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299" y="267383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6" name="Picture 180" descr="C:\Users\pankratov.in\YandexDisk\!NTI\DOCS\ProjectPresentation\icons\PNG\256\33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7" name="Picture 181" descr="C:\Users\pankratov.in\YandexDisk\!NTI\DOCS\ProjectPresentation\icons\PNG\256\33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26833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82" descr="C:\Users\pankratov.in\YandexDisk\!NTI\DOCS\ProjectPresentation\icons\PNG\256\33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20899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183" descr="C:\Users\pankratov.in\YandexDisk\!NTI\DOCS\ProjectPresentation\icons\PNG\256\33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Picture 184" descr="C:\Users\pankratov.in\YandexDisk\!NTI\DOCS\ProjectPresentation\icons\PNG\256\33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Picture 185" descr="C:\Users\pankratov.in\YandexDisk\!NTI\DOCS\ProjectPresentation\icons\PNG\256\33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392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" name="Picture 186" descr="C:\Users\pankratov.in\YandexDisk\!NTI\DOCS\ProjectPresentation\icons\PNG\256\34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264526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187" descr="C:\Users\pankratov.in\YandexDisk\!NTI\DOCS\ProjectPresentation\icons\PNG\256\34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782" y="18108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Picture 188" descr="C:\Users\pankratov.in\YandexDisk\!NTI\DOCS\ProjectPresentation\icons\PNG\256\34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86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5" name="Picture 189" descr="C:\Users\pankratov.in\YandexDisk\!NTI\DOCS\ProjectPresentation\icons\PNG\256\34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190" descr="C:\Users\pankratov.in\YandexDisk\!NTI\DOCS\ProjectPresentation\icons\PNG\256\34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7" name="Picture 191" descr="C:\Users\pankratov.in\YandexDisk\!NTI\DOCS\ProjectPresentation\icons\PNG\256\34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8" name="Picture 192" descr="C:\Users\pankratov.in\YandexDisk\!NTI\DOCS\ProjectPresentation\icons\PNG\256\34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181411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9" name="Picture 193" descr="C:\Users\pankratov.in\YandexDisk\!NTI\DOCS\ProjectPresentation\icons\PNG\256\34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194" descr="C:\Users\pankratov.in\YandexDisk\!NTI\DOCS\ProjectPresentation\icons\PNG\256\34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18203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1" name="Picture 195" descr="C:\Users\pankratov.in\YandexDisk\!NTI\DOCS\ProjectPresentation\icons\PNG\256\34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2967" y="17950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" name="Picture 196" descr="C:\Users\pankratov.in\YandexDisk\!NTI\DOCS\ProjectPresentation\icons\PNG\256\35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181411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" name="Picture 197" descr="C:\Users\pankratov.in\YandexDisk\!NTI\DOCS\ProjectPresentation\icons\PNG\256\35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573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" name="Picture 198" descr="C:\Users\pankratov.in\YandexDisk\!NTI\DOCS\ProjectPresentation\icons\PNG\256\35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086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" name="Picture 199" descr="C:\Users\pankratov.in\YandexDisk\!NTI\DOCS\ProjectPresentation\icons\PNG\256\35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" name="Picture 200" descr="C:\Users\pankratov.in\YandexDisk\!NTI\DOCS\ProjectPresentation\icons\PNG\256\35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875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" name="Picture 201" descr="C:\Users\pankratov.in\YandexDisk\!NTI\DOCS\ProjectPresentation\icons\PNG\256\35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" name="Picture 202" descr="C:\Users\pankratov.in\YandexDisk\!NTI\DOCS\ProjectPresentation\icons\PNG\256\35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812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" name="Picture 203" descr="C:\Users\pankratov.in\YandexDisk\!NTI\DOCS\ProjectPresentation\icons\PNG\256\35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0797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04" descr="C:\Users\pankratov.in\YandexDisk\!NTI\DOCS\ProjectPresentation\icons\PNG\256\35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783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" name="Picture 205" descr="C:\Users\pankratov.in\YandexDisk\!NTI\DOCS\ProjectPresentation\icons\PNG\256\35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4392" y="9606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" name="Picture 62" descr="C:\Users\pankratov.in\YandexDisk\!NTI\DOCS\ProjectPresentation\icons\PNG\256\46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Picture 63" descr="C:\Users\pankratov.in\YandexDisk\!NTI\DOCS\ProjectPresentation\icons\PNG\256\46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0501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Picture 64" descr="C:\Users\pankratov.in\YandexDisk\!NTI\DOCS\ProjectPresentation\icons\PNG\256\46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442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" name="Picture 65" descr="C:\Users\pankratov.in\YandexDisk\!NTI\DOCS\ProjectPresentation\icons\PNG\256\46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5527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6" name="Picture 66" descr="C:\Users\pankratov.in\YandexDisk\!NTI\DOCS\ProjectPresentation\icons\PNG\256\46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4931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67" descr="C:\Users\pankratov.in\YandexDisk\!NTI\DOCS\ProjectPresentation\icons\PNG\256\46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4827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68" descr="C:\Users\pankratov.in\YandexDisk\!NTI\DOCS\ProjectPresentation\icons\PNG\256\46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649" y="537014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9" name="Picture 69" descr="C:\Users\pankratov.in\YandexDisk\!NTI\DOCS\ProjectPresentation\icons\PNG\256\46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1663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70" descr="C:\Users\pankratov.in\YandexDisk\!NTI\DOCS\ProjectPresentation\icons\PNG\256\46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5373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1" name="Picture 71" descr="C:\Users\pankratov.in\YandexDisk\!NTI\DOCS\ProjectPresentation\icons\PNG\256\46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542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" name="Picture 72" descr="C:\Users\pankratov.in\YandexDisk\!NTI\DOCS\ProjectPresentation\icons\PNG\256\47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477" y="533417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3" name="Picture 73" descr="C:\Users\pankratov.in\YandexDisk\!NTI\DOCS\ProjectPresentation\icons\PNG\256\47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517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4" name="Picture 74" descr="C:\Users\pankratov.in\YandexDisk\!NTI\DOCS\ProjectPresentation\icons\PNG\256\47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9442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75" descr="C:\Users\pankratov.in\YandexDisk\!NTI\DOCS\ProjectPresentation\icons\PNG\256\47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829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" name="Picture 76" descr="C:\Users\pankratov.in\YandexDisk\!NTI\DOCS\ProjectPresentation\icons\PNG\256\47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9217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7" name="Picture 77" descr="C:\Users\pankratov.in\YandexDisk\!NTI\DOCS\ProjectPresentation\icons\PNG\256\47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93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" name="Picture 78" descr="C:\Users\pankratov.in\YandexDisk\!NTI\DOCS\ProjectPresentation\icons\PNG\256\47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64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9" name="Picture 79" descr="C:\Users\pankratov.in\YandexDisk\!NTI\DOCS\ProjectPresentation\icons\PNG\256\47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47141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0" name="Picture 80" descr="C:\Users\pankratov.in\YandexDisk\!NTI\DOCS\ProjectPresentation\icons\PNG\256\47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0929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81" descr="C:\Users\pankratov.in\YandexDisk\!NTI\DOCS\ProjectPresentation\icons\PNG\256\47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1542" y="44638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5102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06.2019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3</a:t>
            </a:fld>
            <a:endParaRPr lang="ru-RU" dirty="0"/>
          </a:p>
        </p:txBody>
      </p:sp>
      <p:pic>
        <p:nvPicPr>
          <p:cNvPr id="6" name="Picture 82" descr="C:\Users\pankratov.in\YandexDisk\!NTI\DOCS\ProjectPresentation\icons\PNG\256\48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3" descr="C:\Users\pankratov.in\YandexDisk\!NTI\DOCS\ProjectPresentation\icons\PNG\256\48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171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4" descr="C:\Users\pankratov.in\YandexDisk\!NTI\DOCS\ProjectPresentation\icons\PNG\256\48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02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5" descr="C:\Users\pankratov.in\YandexDisk\!NTI\DOCS\ProjectPresentation\icons\PNG\256\48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86" descr="C:\Users\pankratov.in\YandexDisk\!NTI\DOCS\ProjectPresentation\icons\PNG\256\485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344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7" descr="C:\Users\pankratov.in\YandexDisk\!NTI\DOCS\ProjectPresentation\icons\PNG\256\486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817" y="45493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8" descr="C:\Users\pankratov.in\YandexDisk\!NTI\DOCS\ProjectPresentation\icons\PNG\256\487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89" descr="C:\Users\pankratov.in\YandexDisk\!NTI\DOCS\ProjectPresentation\icons\PNG\256\488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356253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90" descr="C:\Users\pankratov.in\YandexDisk\!NTI\DOCS\ProjectPresentation\icons\PNG\256\489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8827" y="3575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91" descr="C:\Users\pankratov.in\YandexDisk\!NTI\DOCS\ProjectPresentation\icons\PNG\256\490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437" y="3575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92" descr="C:\Users\pankratov.in\YandexDisk\!NTI\DOCS\ProjectPresentation\icons\PNG\256\491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66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93" descr="C:\Users\pankratov.in\YandexDisk\!NTI\DOCS\ProjectPresentation\icons\PNG\256\492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95171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4" descr="C:\Users\pankratov.in\YandexDisk\!NTI\DOCS\ProjectPresentation\icons\PNG\256\493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12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95" descr="C:\Users\pankratov.in\YandexDisk\!NTI\DOCS\ProjectPresentation\icons\PNG\256\494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357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96" descr="C:\Users\pankratov.in\YandexDisk\!NTI\DOCS\ProjectPresentation\icons\PNG\256\495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5739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97" descr="C:\Users\pankratov.in\YandexDisk\!NTI\DOCS\ProjectPresentation\icons\PNG\256\496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449" y="3623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98" descr="C:\Users\pankratov.in\YandexDisk\!NTI\DOCS\ProjectPresentation\icons\PNG\256\497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99" descr="C:\Users\pankratov.in\YandexDisk\!NTI\DOCS\ProjectPresentation\icons\PNG\256\498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00" descr="C:\Users\pankratov.in\YandexDisk\!NTI\DOCS\ProjectPresentation\icons\PNG\256\499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01" descr="C:\Users\pankratov.in\YandexDisk\!NTI\DOCS\ProjectPresentation\icons\PNG\256\500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443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02" descr="C:\Users\pankratov.in\YandexDisk\!NTI\DOCS\ProjectPresentation\icons\PNG\256\501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66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03" descr="C:\Users\pankratov.in\YandexDisk\!NTI\DOCS\ProjectPresentation\icons\PNG\256\502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04" descr="C:\Users\pankratov.in\YandexDisk\!NTI\DOCS\ProjectPresentation\icons\PNG\256\503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602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05" descr="C:\Users\pankratov.in\YandexDisk\!NTI\DOCS\ProjectPresentation\icons\PNG\256\504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735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06" descr="C:\Users\pankratov.in\YandexDisk\!NTI\DOCS\ProjectPresentation\icons\PNG\256\505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7" descr="C:\Users\pankratov.in\YandexDisk\!NTI\DOCS\ProjectPresentation\icons\PNG\256\506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2695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08" descr="C:\Users\pankratov.in\YandexDisk\!NTI\DOCS\ProjectPresentation\icons\PNG\256\507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09" descr="C:\Users\pankratov.in\YandexDisk\!NTI\DOCS\ProjectPresentation\icons\PNG\256\508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10" descr="C:\Users\pankratov.in\YandexDisk\!NTI\DOCS\ProjectPresentation\icons\PNG\256\509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11" descr="C:\Users\pankratov.in\YandexDisk\!NTI\DOCS\ProjectPresentation\icons\PNG\256\510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57" y="17629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12" descr="C:\Users\pankratov.in\YandexDisk\!NTI\DOCS\ProjectPresentation\icons\PNG\256\511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8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13" descr="C:\Users\pankratov.in\YandexDisk\!NTI\DOCS\ProjectPresentation\icons\PNG\256\512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14" descr="C:\Users\pankratov.in\YandexDisk\!NTI\DOCS\ProjectPresentation\icons\PNG\256\513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64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15" descr="C:\Users\pankratov.in\YandexDisk\!NTI\DOCS\ProjectPresentation\icons\PNG\256\514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16" descr="C:\Users\pankratov.in\YandexDisk\!NTI\DOCS\ProjectPresentation\icons\PNG\256\515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17" descr="C:\Users\pankratov.in\YandexDisk\!NTI\DOCS\ProjectPresentation\icons\PNG\256\516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667" y="181206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18" descr="C:\Users\pankratov.in\YandexDisk\!NTI\DOCS\ProjectPresentation\icons\PNG\256\517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188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19" descr="C:\Users\pankratov.in\YandexDisk\!NTI\DOCS\ProjectPresentation\icons\PNG\256\518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511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20" descr="C:\Users\pankratov.in\YandexDisk\!NTI\DOCS\ProjectPresentation\icons\PNG\256\519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072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21" descr="C:\Users\pankratov.in\YandexDisk\!NTI\DOCS\ProjectPresentation\icons\PNG\256\520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5395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22" descr="C:\Users\pankratov.in\YandexDisk\!NTI\DOCS\ProjectPresentation\icons\PNG\256\521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718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23" descr="C:\Users\pankratov.in\YandexDisk\!NTI\DOCS\ProjectPresentation\icons\PNG\256\522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041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24" descr="C:\Users\pankratov.in\YandexDisk\!NTI\DOCS\ProjectPresentation\icons\PNG\256\523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364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25" descr="C:\Users\pankratov.in\YandexDisk\!NTI\DOCS\ProjectPresentation\icons\PNG\256\524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973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26" descr="C:\Users\pankratov.in\YandexDisk\!NTI\DOCS\ProjectPresentation\icons\PNG\256\525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0107" y="9510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7" descr="C:\Users\pankratov.in\YandexDisk\!NTI\DOCS\ProjectPresentation\icons\PNG\256\44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5369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8" descr="C:\Users\pankratov.in\YandexDisk\!NTI\DOCS\ProjectPresentation\icons\PNG\256\44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47353" y="537853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9" descr="C:\Users\pankratov.in\YandexDisk\!NTI\DOCS\ProjectPresentation\icons\PNG\256\44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063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0" descr="C:\Users\pankratov.in\YandexDisk\!NTI\DOCS\ProjectPresentation\icons\PNG\256\44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773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1" descr="C:\Users\pankratov.in\YandexDisk\!NTI\DOCS\ProjectPresentation\icons\PNG\256\44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69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2" descr="C:\Users\pankratov.in\YandexDisk\!NTI\DOCS\ProjectPresentation\icons\PNG\256\45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4579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3" descr="C:\Users\pankratov.in\YandexDisk\!NTI\DOCS\ProjectPresentation\icons\PNG\256\45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0897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 descr="C:\Users\pankratov.in\YandexDisk\!NTI\DOCS\ProjectPresentation\icons\PNG\256\45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04127" y="54035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5" descr="C:\Users\pankratov.in\YandexDisk\!NTI\DOCS\ProjectPresentation\icons\PNG\256\45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6551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6" descr="C:\Users\pankratov.in\YandexDisk\!NTI\DOCS\ProjectPresentation\icons\PNG\256\45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534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7" descr="C:\Users\pankratov.in\YandexDisk\!NTI\DOCS\ProjectPresentation\icons\PNG\256\45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971" y="53938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8" descr="C:\Users\pankratov.in\YandexDisk\!NTI\DOCS\ProjectPresentation\icons\PNG\256\45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1407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9" descr="C:\Users\pankratov.in\YandexDisk\!NTI\DOCS\ProjectPresentation\icons\PNG\256\45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1063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0" descr="C:\Users\pankratov.in\YandexDisk\!NTI\DOCS\ProjectPresentation\icons\PNG\256\45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4773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1" descr="C:\Users\pankratov.in\YandexDisk\!NTI\DOCS\ProjectPresentation\icons\PNG\256\45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6269" y="455226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077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06.2019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4</a:t>
            </a:fld>
            <a:endParaRPr lang="ru-RU" dirty="0"/>
          </a:p>
        </p:txBody>
      </p:sp>
      <p:pic>
        <p:nvPicPr>
          <p:cNvPr id="6" name="Picture 106" descr="C:\Users\pankratov.in\YandexDisk\!NTI\DOCS\ProjectPresentation\icons\PNG\256\26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107" descr="C:\Users\pankratov.in\YandexDisk\!NTI\DOCS\ProjectPresentation\icons\PNG\256\26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279" y="55435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8" descr="C:\Users\pankratov.in\YandexDisk\!NTI\DOCS\ProjectPresentation\icons\PNG\256\26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9" descr="C:\Users\pankratov.in\YandexDisk\!NTI\DOCS\ProjectPresentation\icons\PNG\256\26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0383" y="54987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10" descr="C:\Users\pankratov.in\YandexDisk\!NTI\DOCS\ProjectPresentation\icons\PNG\256\26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83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11" descr="C:\Users\pankratov.in\YandexDisk\!NTI\DOCS\ProjectPresentation\icons\PNG\256\26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775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2" descr="C:\Users\pankratov.in\YandexDisk\!NTI\DOCS\ProjectPresentation\icons\PNG\256\26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734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13" descr="C:\Users\pankratov.in\YandexDisk\!NTI\DOCS\ProjectPresentation\icons\PNG\256\26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799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4" descr="C:\Users\pankratov.in\YandexDisk\!NTI\DOCS\ProjectPresentation\icons\PNG\256\26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552803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5" descr="C:\Users\pankratov.in\YandexDisk\!NTI\DOCS\ProjectPresentation\icons\PNG\256\26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481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16" descr="C:\Users\pankratov.in\YandexDisk\!NTI\DOCS\ProjectPresentation\icons\PNG\256\27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54695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17" descr="C:\Users\pankratov.in\YandexDisk\!NTI\DOCS\ProjectPresentation\icons\PNG\256\27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92279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18" descr="C:\Users\pankratov.in\YandexDisk\!NTI\DOCS\ProjectPresentation\icons\PNG\256\27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19" descr="C:\Users\pankratov.in\YandexDisk\!NTI\DOCS\ProjectPresentation\icons\PNG\256\27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20" descr="C:\Users\pankratov.in\YandexDisk\!NTI\DOCS\ProjectPresentation\icons\PNG\256\27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835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1" descr="C:\Users\pankratov.in\YandexDisk\!NTI\DOCS\ProjectPresentation\icons\PNG\256\27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22" descr="C:\Users\pankratov.in\YandexDisk\!NTI\DOCS\ProjectPresentation\icons\PNG\256\27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6103" y="456242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23" descr="C:\Users\pankratov.in\YandexDisk\!NTI\DOCS\ProjectPresentation\icons\PNG\256\27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24" descr="C:\Users\pankratov.in\YandexDisk\!NTI\DOCS\ProjectPresentation\icons\PNG\256\27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25" descr="C:\Users\pankratov.in\YandexDisk\!NTI\DOCS\ProjectPresentation\icons\PNG\256\27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221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26" descr="C:\Users\pankratov.in\YandexDisk\!NTI\DOCS\ProjectPresentation\icons\PNG\256\28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456974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27" descr="C:\Users\pankratov.in\YandexDisk\!NTI\DOCS\ProjectPresentation\icons\PNG\256\28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019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28" descr="C:\Users\pankratov.in\YandexDisk\!NTI\DOCS\ProjectPresentation\icons\PNG\256\28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9" descr="C:\Users\pankratov.in\YandexDisk\!NTI\DOCS\ProjectPresentation\icons\PNG\256\28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37000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30" descr="C:\Users\pankratov.in\YandexDisk\!NTI\DOCS\ProjectPresentation\icons\PNG\256\28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795" y="188679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31" descr="C:\Users\pankratov.in\YandexDisk\!NTI\DOCS\ProjectPresentation\icons\PNG\256\28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9835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32" descr="C:\Users\pankratov.in\YandexDisk\!NTI\DOCS\ProjectPresentation\icons\PNG\256\28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33" descr="C:\Users\pankratov.in\YandexDisk\!NTI\DOCS\ProjectPresentation\icons\PNG\256\28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5799" y="37000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34" descr="C:\Users\pankratov.in\YandexDisk\!NTI\DOCS\ProjectPresentation\icons\PNG\256\28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75426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135" descr="C:\Users\pankratov.in\YandexDisk\!NTI\DOCS\ProjectPresentation\icons\PNG\256\28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1481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136" descr="C:\Users\pankratov.in\YandexDisk\!NTI\DOCS\ProjectPresentation\icons\PNG\256\29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137" descr="C:\Users\pankratov.in\YandexDisk\!NTI\DOCS\ProjectPresentation\icons\PNG\256\29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649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138" descr="C:\Users\pankratov.in\YandexDisk\!NTI\DOCS\ProjectPresentation\icons\PNG\256\29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139" descr="C:\Users\pankratov.in\YandexDisk\!NTI\DOCS\ProjectPresentation\icons\PNG\256\29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0794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140" descr="C:\Users\pankratov.in\YandexDisk\!NTI\DOCS\ProjectPresentation\icons\PNG\256\29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8983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141" descr="C:\Users\pankratov.in\YandexDisk\!NTI\DOCS\ProjectPresentation\icons\PNG\256\29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877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42" descr="C:\Users\pankratov.in\YandexDisk\!NTI\DOCS\ProjectPresentation\icons\PNG\256\29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143" descr="C:\Users\pankratov.in\YandexDisk\!NTI\DOCS\ProjectPresentation\icons\PNG\256\29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44" descr="C:\Users\pankratov.in\YandexDisk\!NTI\DOCS\ProjectPresentation\icons\PNG\256\29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5511" y="274180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145" descr="C:\Users\pankratov.in\YandexDisk\!NTI\DOCS\ProjectPresentation\icons\PNG\256\29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379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46" descr="C:\Users\pankratov.in\YandexDisk\!NTI\DOCS\ProjectPresentation\icons\PNG\256\30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277020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47" descr="C:\Users\pankratov.in\YandexDisk\!NTI\DOCS\ProjectPresentation\icons\PNG\256\30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3019" y="188679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48" descr="C:\Users\pankratov.in\YandexDisk\!NTI\DOCS\ProjectPresentation\icons\PNG\256\30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3911" y="189237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149" descr="C:\Users\pankratov.in\YandexDisk\!NTI\DOCS\ProjectPresentation\icons\PNG\256\30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012" y="18639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150" descr="C:\Users\pankratov.in\YandexDisk\!NTI\DOCS\ProjectPresentation\icons\PNG\256\30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5189" y="18558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151" descr="C:\Users\pankratov.in\YandexDisk\!NTI\DOCS\ProjectPresentation\icons\PNG\256\30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18566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52" descr="C:\Users\pankratov.in\YandexDisk\!NTI\DOCS\ProjectPresentation\icons\PNG\256\30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8411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153" descr="C:\Users\pankratov.in\YandexDisk\!NTI\DOCS\ProjectPresentation\icons\PNG\256\30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7868" y="184117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154" descr="C:\Users\pankratov.in\YandexDisk\!NTI\DOCS\ProjectPresentation\icons\PNG\256\30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1803527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155" descr="C:\Users\pankratov.in\YandexDisk\!NTI\DOCS\ProjectPresentation\icons\PNG\256\30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36846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156" descr="C:\Users\pankratov.in\YandexDisk\!NTI\DOCS\ProjectPresentation\icons\PNG\256\31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505" y="185580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157" descr="C:\Users\pankratov.in\YandexDisk\!NTI\DOCS\ProjectPresentation\icons\PNG\256\31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7649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158" descr="C:\Users\pankratov.in\YandexDisk\!NTI\DOCS\ProjectPresentation\icons\PNG\256\31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667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159" descr="C:\Users\pankratov.in\YandexDisk\!NTI\DOCS\ProjectPresentation\icons\PNG\256\31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495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160" descr="C:\Users\pankratov.in\YandexDisk\!NTI\DOCS\ProjectPresentation\icons\PNG\256\31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2504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161" descr="C:\Users\pankratov.in\YandexDisk\!NTI\DOCS\ProjectPresentation\icons\PNG\256\31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49310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162" descr="C:\Users\pankratov.in\YandexDisk\!NTI\DOCS\ProjectPresentation\icons\PNG\256\31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163" descr="C:\Users\pankratov.in\YandexDisk\!NTI\DOCS\ProjectPresentation\icons\PNG\256\31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1716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164" descr="C:\Users\pankratov.in\YandexDisk\!NTI\DOCS\ProjectPresentation\icons\PNG\256\31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9777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65" descr="C:\Users\pankratov.in\YandexDisk\!NTI\DOCS\ProjectPresentation\icons\PNG\256\31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22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2517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06.2019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5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239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453" y="19091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pankratov.in\YandexDisk\!NTI\DOCS\ProjectPresentation\icons\PNG\256\24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pankratov.in\YandexDisk\!NTI\DOCS\ProjectPresentation\icons\PNG\256\16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55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pankratov.in\YandexDisk\!NTI\DOCS\ProjectPresentation\icons\PNG\256\16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7299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pankratov.in\YandexDisk\!NTI\DOCS\ProjectPresentation\icons\PNG\256\16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71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C:\Users\pankratov.in\YandexDisk\!NTI\DOCS\ProjectPresentation\icons\PNG\256\16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7421" y="55078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C:\Users\pankratov.in\YandexDisk\!NTI\DOCS\ProjectPresentation\icons\PNG\256\165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04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pankratov.in\YandexDisk\!NTI\DOCS\ProjectPresentation\icons\PNG\256\166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541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C:\Users\pankratov.in\YandexDisk\!NTI\DOCS\ProjectPresentation\icons\PNG\256\167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5337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C:\Users\pankratov.in\YandexDisk\!NTI\DOCS\ProjectPresentation\icons\PNG\256\16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C:\Users\pankratov.in\YandexDisk\!NTI\DOCS\ProjectPresentation\icons\PNG\256\16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C:\Users\pankratov.in\YandexDisk\!NTI\DOCS\ProjectPresentation\icons\PNG\256\170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549948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C:\Users\pankratov.in\YandexDisk\!NTI\DOCS\ProjectPresentation\icons\PNG\256\171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645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C:\Users\pankratov.in\YandexDisk\!NTI\DOCS\ProjectPresentation\icons\PNG\256\17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C:\Users\pankratov.in\YandexDisk\!NTI\DOCS\ProjectPresentation\icons\PNG\256\173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46440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7" descr="C:\Users\pankratov.in\YandexDisk\!NTI\DOCS\ProjectPresentation\icons\PNG\256\174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4043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C:\Users\pankratov.in\YandexDisk\!NTI\DOCS\ProjectPresentation\icons\PNG\256\175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461022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9" descr="C:\Users\pankratov.in\YandexDisk\!NTI\DOCS\ProjectPresentation\icons\PNG\256\176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627" y="4601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0" descr="C:\Users\pankratov.in\YandexDisk\!NTI\DOCS\ProjectPresentation\icons\PNG\256\177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35" y="4601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1" descr="C:\Users\pankratov.in\YandexDisk\!NTI\DOCS\ProjectPresentation\icons\PNG\256\178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2" descr="C:\Users\pankratov.in\YandexDisk\!NTI\DOCS\ProjectPresentation\icons\PNG\256\179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0161" y="45807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3" descr="C:\Users\pankratov.in\YandexDisk\!NTI\DOCS\ProjectPresentation\icons\PNG\256\180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45512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4" descr="C:\Users\pankratov.in\YandexDisk\!NTI\DOCS\ProjectPresentation\icons\PNG\256\181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7551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5" descr="C:\Users\pankratov.in\YandexDisk\!NTI\DOCS\ProjectPresentation\icons\PNG\256\182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6" descr="C:\Users\pankratov.in\YandexDisk\!NTI\DOCS\ProjectPresentation\icons\PNG\256\183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37844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7" descr="C:\Users\pankratov.in\YandexDisk\!NTI\DOCS\ProjectPresentation\icons\PNG\256\184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8" descr="C:\Users\pankratov.in\YandexDisk\!NTI\DOCS\ProjectPresentation\icons\PNG\256\185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7753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9" descr="C:\Users\pankratov.in\YandexDisk\!NTI\DOCS\ProjectPresentation\icons\PNG\256\186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1627" y="37550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C:\Users\pankratov.in\YandexDisk\!NTI\DOCS\ProjectPresentation\icons\PNG\256\187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373393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1" descr="C:\Users\pankratov.in\YandexDisk\!NTI\DOCS\ProjectPresentation\icons\PNG\256\188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370420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2" descr="C:\Users\pankratov.in\YandexDisk\!NTI\DOCS\ProjectPresentation\icons\PNG\256\189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37252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3" descr="C:\Users\pankratov.in\YandexDisk\!NTI\DOCS\ProjectPresentation\icons\PNG\256\190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36871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4" descr="C:\Users\pankratov.in\YandexDisk\!NTI\DOCS\ProjectPresentation\icons\PNG\256\191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3" y="289953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5" descr="C:\Users\pankratov.in\YandexDisk\!NTI\DOCS\ProjectPresentation\icons\PNG\256\192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29206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6" descr="C:\Users\pankratov.in\YandexDisk\!NTI\DOCS\ProjectPresentation\icons\PNG\256\193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292062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7" descr="C:\Users\pankratov.in\YandexDisk\!NTI\DOCS\ProjectPresentation\icons\PNG\256\194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2899538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8" descr="C:\Users\pankratov.in\YandexDisk\!NTI\DOCS\ProjectPresentation\icons\PNG\256\195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282384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9" descr="C:\Users\pankratov.in\YandexDisk\!NTI\DOCS\ProjectPresentation\icons\PNG\256\196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1463" y="279006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C:\Users\pankratov.in\YandexDisk\!NTI\DOCS\ProjectPresentation\icons\PNG\256\197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27646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1" descr="C:\Users\pankratov.in\YandexDisk\!NTI\DOCS\ProjectPresentation\icons\PNG\256\198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27519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2" descr="C:\Users\pankratov.in\YandexDisk\!NTI\DOCS\ProjectPresentation\icons\PNG\256\19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9063" y="27181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3" descr="C:\Users\pankratov.in\YandexDisk\!NTI\DOCS\ProjectPresentation\icons\PNG\256\20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276466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4" descr="C:\Users\pankratov.in\YandexDisk\!NTI\DOCS\ProjectPresentation\icons\PNG\256\20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195567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5" descr="C:\Users\pankratov.in\YandexDisk\!NTI\DOCS\ProjectPresentation\icons\PNG\256\20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043" y="1959991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6" descr="C:\Users\pankratov.in\YandexDisk\!NTI\DOCS\ProjectPresentation\icons\PNG\256\20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196837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47" descr="C:\Users\pankratov.in\YandexDisk\!NTI\DOCS\ProjectPresentation\icons\PNG\256\20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19218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48" descr="C:\Users\pankratov.in\YandexDisk\!NTI\DOCS\ProjectPresentation\icons\PNG\256\20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92189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9" descr="C:\Users\pankratov.in\YandexDisk\!NTI\DOCS\ProjectPresentation\icons\PNG\256\20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4835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50" descr="C:\Users\pankratov.in\YandexDisk\!NTI\DOCS\ProjectPresentation\icons\PNG\256\20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346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51" descr="C:\Users\pankratov.in\YandexDisk\!NTI\DOCS\ProjectPresentation\icons\PNG\256\20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366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52" descr="C:\Users\pankratov.in\YandexDisk\!NTI\DOCS\ProjectPresentation\icons\PNG\256\20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53" y="19008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53" descr="C:\Users\pankratov.in\YandexDisk\!NTI\DOCS\ProjectPresentation\icons\PNG\256\21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91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54" descr="C:\Users\pankratov.in\YandexDisk\!NTI\DOCS\ProjectPresentation\icons\PNG\256\21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74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55" descr="C:\Users\pankratov.in\YandexDisk\!NTI\DOCS\ProjectPresentation\icons\PNG\256\21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3711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56" descr="C:\Users\pankratov.in\YandexDisk\!NTI\DOCS\ProjectPresentation\icons\PNG\256\21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7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57" descr="C:\Users\pankratov.in\YandexDisk\!NTI\DOCS\ProjectPresentation\icons\PNG\256\21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04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8" descr="C:\Users\pankratov.in\YandexDisk\!NTI\DOCS\ProjectPresentation\icons\PNG\256\21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6227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59" descr="C:\Users\pankratov.in\YandexDisk\!NTI\DOCS\ProjectPresentation\icons\PNG\256\21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60" descr="C:\Users\pankratov.in\YandexDisk\!NTI\DOCS\ProjectPresentation\icons\PNG\256\21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535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61" descr="C:\Users\pankratov.in\YandexDisk\!NTI\DOCS\ProjectPresentation\icons\PNG\256\21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5243" y="100724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291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06.2019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6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16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9" descr="C:\Users\pankratov.in\YandexDisk\!NTI\DOCS\ProjectPresentation\icons\PNG\256\89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253" y="35808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0" descr="C:\Users\pankratov.in\YandexDisk\!NTI\DOCS\ProjectPresentation\icons\PNG\256\90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3957" y="358927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1" descr="C:\Users\pankratov.in\YandexDisk\!NTI\DOCS\ProjectPresentation\icons\PNG\256\91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358927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2" descr="C:\Users\pankratov.in\YandexDisk\!NTI\DOCS\ProjectPresentation\icons\PNG\256\9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09909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3" descr="C:\Users\pankratov.in\YandexDisk\!NTI\DOCS\ProjectPresentation\icons\PNG\256\93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3513076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4" descr="C:\Users\pankratov.in\YandexDisk\!NTI\DOCS\ProjectPresentation\icons\PNG\256\94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6055" y="350901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5" descr="C:\Users\pankratov.in\YandexDisk\!NTI\DOCS\ProjectPresentation\icons\PNG\256\95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553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6" descr="C:\Users\pankratov.in\YandexDisk\!NTI\DOCS\ProjectPresentation\icons\PNG\256\96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355549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7" descr="C:\Users\pankratov.in\YandexDisk\!NTI\DOCS\ProjectPresentation\icons\PNG\256\97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853" y="354711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8" descr="C:\Users\pankratov.in\YandexDisk\!NTI\DOCS\ProjectPresentation\icons\PNG\256\98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54711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9" descr="C:\Users\pankratov.in\YandexDisk\!NTI\DOCS\ProjectPresentation\icons\PNG\256\99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4853" y="272593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0" descr="C:\Users\pankratov.in\YandexDisk\!NTI\DOCS\ProjectPresentation\icons\PNG\256\100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274701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1" descr="C:\Users\pankratov.in\YandexDisk\!NTI\DOCS\ProjectPresentation\icons\PNG\256\101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2738629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2" descr="C:\Users\pankratov.in\YandexDisk\!NTI\DOCS\ProjectPresentation\icons\PNG\256\102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3255" y="2713228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3" descr="C:\Users\pankratov.in\YandexDisk\!NTI\DOCS\ProjectPresentation\icons\PNG\256\103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272593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4" descr="C:\Users\pankratov.in\YandexDisk\!NTI\DOCS\ProjectPresentation\icons\PNG\256\104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61456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5" descr="C:\Users\pankratov.in\YandexDisk\!NTI\DOCS\ProjectPresentation\icons\PNG\256\105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05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6" descr="C:\Users\pankratov.in\YandexDisk\!NTI\DOCS\ProjectPresentation\icons\PNG\256\106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7" descr="C:\Users\pankratov.in\YandexDisk\!NTI\DOCS\ProjectPresentation\icons\PNG\256\107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9056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8" descr="C:\Users\pankratov.in\YandexDisk\!NTI\DOCS\ProjectPresentation\icons\PNG\256\108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704847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9" descr="C:\Users\pankratov.in\YandexDisk\!NTI\DOCS\ProjectPresentation\icons\PNG\256\109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29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30" descr="C:\Users\pankratov.in\YandexDisk\!NTI\DOCS\ProjectPresentation\icons\PNG\256\110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192176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31" descr="C:\Users\pankratov.in\YandexDisk\!NTI\DOCS\ProjectPresentation\icons\PNG\256\111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1921764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2" descr="C:\Users\pankratov.in\YandexDisk\!NTI\DOCS\ProjectPresentation\icons\PNG\256\112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5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3" descr="C:\Users\pankratov.in\YandexDisk\!NTI\DOCS\ProjectPresentation\icons\PNG\256\113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488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34" descr="C:\Users\pankratov.in\YandexDisk\!NTI\DOCS\ProjectPresentation\icons\PNG\256\114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53" y="1904746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5" descr="C:\Users\pankratov.in\YandexDisk\!NTI\DOCS\ProjectPresentation\icons\PNG\256\115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6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6" descr="C:\Users\pankratov.in\YandexDisk\!NTI\DOCS\ProjectPresentation\icons\PNG\256\116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83453" y="189636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7" descr="C:\Users\pankratov.in\YandexDisk\!NTI\DOCS\ProjectPresentation\icons\PNG\256\117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198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8" descr="C:\Users\pankratov.in\YandexDisk\!NTI\DOCS\ProjectPresentation\icons\PNG\256\118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253" y="191338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9" descr="C:\Users\pankratov.in\YandexDisk\!NTI\DOCS\ProjectPresentation\icons\PNG\256\119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2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40" descr="C:\Users\pankratov.in\YandexDisk\!NTI\DOCS\ProjectPresentation\icons\PNG\256\120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58101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41" descr="C:\Users\pankratov.in\YandexDisk\!NTI\DOCS\ProjectPresentation\icons\PNG\256\121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41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42" descr="C:\Users\pankratov.in\YandexDisk\!NTI\DOCS\ProjectPresentation\icons\PNG\256\122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05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43" descr="C:\Users\pankratov.in\YandexDisk\!NTI\DOCS\ProjectPresentation\icons\PNG\256\123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44" descr="C:\Users\pankratov.in\YandexDisk\!NTI\DOCS\ProjectPresentation\icons\PNG\256\124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06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5" descr="C:\Users\pankratov.in\YandexDisk\!NTI\DOCS\ProjectPresentation\icons\PNG\256\125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9756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6" descr="C:\Users\pankratov.in\YandexDisk\!NTI\DOCS\ProjectPresentation\icons\PNG\256\126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1553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7" descr="C:\Users\pankratov.in\YandexDisk\!NTI\DOCS\ProjectPresentation\icons\PNG\256\127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0656" y="1075185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2" descr="C:\Users\pankratov.in\YandexDisk\!NTI\DOCS\ProjectPresentation\icons\PNG\256\21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6061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3" descr="C:\Users\pankratov.in\YandexDisk\!NTI\DOCS\ProjectPresentation\icons\PNG\256\22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429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4" descr="C:\Users\pankratov.in\YandexDisk\!NTI\DOCS\ProjectPresentation\icons\PNG\256\22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13307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5" descr="C:\Users\pankratov.in\YandexDisk\!NTI\DOCS\ProjectPresentation\icons\PNG\256\22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664" y="5379723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6" descr="C:\Users\pankratov.in\YandexDisk\!NTI\DOCS\ProjectPresentation\icons\PNG\256\22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416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7" descr="C:\Users\pankratov.in\YandexDisk\!NTI\DOCS\ProjectPresentation\icons\PNG\256\22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7261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8" descr="C:\Users\pankratov.in\YandexDisk\!NTI\DOCS\ProjectPresentation\icons\PNG\256\22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861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9" descr="C:\Users\pankratov.in\YandexDisk\!NTI\DOCS\ProjectPresentation\icons\PNG\256\22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436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0" descr="C:\Users\pankratov.in\YandexDisk\!NTI\DOCS\ProjectPresentation\icons\PNG\256\22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42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71" descr="C:\Users\pankratov.in\YandexDisk\!NTI\DOCS\ProjectPresentation\icons\PNG\256\22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636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2" descr="C:\Users\pankratov.in\YandexDisk\!NTI\DOCS\ProjectPresentation\icons\PNG\256\22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4267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3" descr="C:\Users\pankratov.in\YandexDisk\!NTI\DOCS\ProjectPresentation\icons\PNG\256\23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1363" y="45034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74" descr="C:\Users\pankratov.in\YandexDisk\!NTI\DOCS\ProjectPresentation\icons\PNG\256\23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163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5" descr="C:\Users\pankratov.in\YandexDisk\!NTI\DOCS\ProjectPresentation\icons\PNG\256\23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864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6" descr="C:\Users\pankratov.in\YandexDisk\!NTI\DOCS\ProjectPresentation\icons\PNG\256\23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26416" y="450342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77" descr="C:\Users\pankratov.in\YandexDisk\!NTI\DOCS\ProjectPresentation\icons\PNG\256\23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6953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78" descr="C:\Users\pankratov.in\YandexDisk\!NTI\DOCS\ProjectPresentation\icons\PNG\256\23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2563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79" descr="C:\Users\pankratov.in\YandexDisk\!NTI\DOCS\ProjectPresentation\icons\PNG\256\23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88924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80" descr="C:\Users\pankratov.in\YandexDisk\!NTI\DOCS\ProjectPresentation\icons\PNG\256\23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508" y="4444366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81" descr="C:\Users\pankratov.in\YandexDisk\!NTI\DOCS\ProjectPresentation\icons\PNG\256\23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4408" y="444881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3139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06.2019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7406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1" descr="C:\Users\pankratov.in\YandexDisk\!NTI\DOCS\ProjectPresentation\icons\PNG\256\3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32" descr="C:\Users\pankratov.in\YandexDisk\!NTI\DOCS\ProjectPresentation\icons\PNG\256\3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55626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33" descr="C:\Users\pankratov.in\YandexDisk\!NTI\DOCS\ProjectPresentation\icons\PNG\256\32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1" y="55372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4" descr="C:\Users\pankratov.in\YandexDisk\!NTI\DOCS\ProjectPresentation\icons\PNG\256\33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0209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35" descr="C:\Users\pankratov.in\YandexDisk\!NTI\DOCS\ProjectPresentation\icons\PNG\256\34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36" descr="C:\Users\pankratov.in\YandexDisk\!NTI\DOCS\ProjectPresentation\icons\PNG\256\35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380" y="5511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7" descr="C:\Users\pankratov.in\YandexDisk\!NTI\DOCS\ProjectPresentation\icons\PNG\256\36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408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8" descr="C:\Users\pankratov.in\YandexDisk\!NTI\DOCS\ProjectPresentation\icons\PNG\256\37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52209" y="55245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39" descr="C:\Users\pankratov.in\YandexDisk\!NTI\DOCS\ProjectPresentation\icons\PNG\256\38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511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40" descr="C:\Users\pankratov.in\YandexDisk\!NTI\DOCS\ProjectPresentation\icons\PNG\256\39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46228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41" descr="C:\Users\pankratov.in\YandexDisk\!NTI\DOCS\ProjectPresentation\icons\PNG\256\40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06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42" descr="C:\Users\pankratov.in\YandexDisk\!NTI\DOCS\ProjectPresentation\icons\PNG\256\41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3" descr="C:\Users\pankratov.in\YandexDisk\!NTI\DOCS\ProjectPresentation\icons\PNG\256\42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44" descr="C:\Users\pankratov.in\YandexDisk\!NTI\DOCS\ProjectPresentation\icons\PNG\256\43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5" descr="C:\Users\pankratov.in\YandexDisk\!NTI\DOCS\ProjectPresentation\icons\PNG\256\44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43380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6" descr="C:\Users\pankratov.in\YandexDisk\!NTI\DOCS\ProjectPresentation\icons\PNG\256\45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7" descr="C:\Users\pankratov.in\YandexDisk\!NTI\DOCS\ProjectPresentation\icons\PNG\256\46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48" descr="C:\Users\pankratov.in\YandexDisk\!NTI\DOCS\ProjectPresentation\icons\PNG\256\47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6101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49" descr="C:\Users\pankratov.in\YandexDisk\!NTI\DOCS\ProjectPresentation\icons\PNG\256\48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1707" y="3721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50" descr="C:\Users\pankratov.in\YandexDisk\!NTI\DOCS\ProjectPresentation\icons\PNG\256\49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1715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51" descr="C:\Users\pankratov.in\YandexDisk\!NTI\DOCS\ProjectPresentation\icons\PNG\256\50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52" descr="C:\Users\pankratov.in\YandexDisk\!NTI\DOCS\ProjectPresentation\icons\PNG\256\51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37084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53" descr="C:\Users\pankratov.in\YandexDisk\!NTI\DOCS\ProjectPresentation\icons\PNG\256\52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72554" y="3683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54" descr="C:\Users\pankratov.in\YandexDisk\!NTI\DOCS\ProjectPresentation\icons\PNG\256\53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3721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55" descr="C:\Users\pankratov.in\YandexDisk\!NTI\DOCS\ProjectPresentation\icons\PNG\256\54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0408" y="36703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56" descr="C:\Users\pankratov.in\YandexDisk\!NTI\DOCS\ProjectPresentation\icons\PNG\256\55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36957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57" descr="C:\Users\pankratov.in\YandexDisk\!NTI\DOCS\ProjectPresentation\icons\PNG\256\56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6957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58" descr="C:\Users\pankratov.in\YandexDisk\!NTI\DOCS\ProjectPresentation\icons\PNG\256\57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75208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59" descr="C:\Users\pankratov.in\YandexDisk\!NTI\DOCS\ProjectPresentation\icons\PNG\256\58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3806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60" descr="C:\Users\pankratov.in\YandexDisk\!NTI\DOCS\ProjectPresentation\icons\PNG\256\59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1" descr="C:\Users\pankratov.in\YandexDisk\!NTI\DOCS\ProjectPresentation\icons\PNG\256\60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62" descr="C:\Users\pankratov.in\YandexDisk\!NTI\DOCS\ProjectPresentation\icons\PNG\256\61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63" descr="C:\Users\pankratov.in\YandexDisk\!NTI\DOCS\ProjectPresentation\icons\PNG\256\62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64" descr="C:\Users\pankratov.in\YandexDisk\!NTI\DOCS\ProjectPresentation\icons\PNG\256\63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65" descr="C:\Users\pankratov.in\YandexDisk\!NTI\DOCS\ProjectPresentation\icons\PNG\256\64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66" descr="C:\Users\pankratov.in\YandexDisk\!NTI\DOCS\ProjectPresentation\icons\PNG\256\65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67" descr="C:\Users\pankratov.in\YandexDisk\!NTI\DOCS\ProjectPresentation\icons\PNG\256\66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68" descr="C:\Users\pankratov.in\YandexDisk\!NTI\DOCS\ProjectPresentation\icons\PNG\256\67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75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69" descr="C:\Users\pankratov.in\YandexDisk\!NTI\DOCS\ProjectPresentation\icons\PNG\256\68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70" descr="C:\Users\pankratov.in\YandexDisk\!NTI\DOCS\ProjectPresentation\icons\PNG\256\69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71" descr="C:\Users\pankratov.in\YandexDisk\!NTI\DOCS\ProjectPresentation\icons\PNG\256\70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72" descr="C:\Users\pankratov.in\YandexDisk\!NTI\DOCS\ProjectPresentation\icons\PNG\256\71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19177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73" descr="C:\Users\pankratov.in\YandexDisk\!NTI\DOCS\ProjectPresentation\icons\PNG\256\72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74" descr="C:\Users\pankratov.in\YandexDisk\!NTI\DOCS\ProjectPresentation\icons\PNG\256\73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75" descr="C:\Users\pankratov.in\YandexDisk\!NTI\DOCS\ProjectPresentation\icons\PNG\256\74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76" descr="C:\Users\pankratov.in\YandexDisk\!NTI\DOCS\ProjectPresentation\icons\PNG\256\75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77" descr="C:\Users\pankratov.in\YandexDisk\!NTI\DOCS\ProjectPresentation\icons\PNG\256\76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87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78" descr="C:\Users\pankratov.in\YandexDisk\!NTI\DOCS\ProjectPresentation\icons\PNG\256\77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9754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79" descr="C:\Users\pankratov.in\YandexDisk\!NTI\DOCS\ProjectPresentation\icons\PNG\256\78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07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80" descr="C:\Users\pankratov.in\YandexDisk\!NTI\DOCS\ProjectPresentation\icons\PNG\256\79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81" descr="C:\Users\pankratov.in\YandexDisk\!NTI\DOCS\ProjectPresentation\icons\PNG\256\80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1480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82" descr="C:\Users\pankratov.in\YandexDisk\!NTI\DOCS\ProjectPresentation\icons\PNG\256\81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18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83" descr="C:\Users\pankratov.in\YandexDisk\!NTI\DOCS\ProjectPresentation\icons\PNG\256\82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309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" descr="C:\Users\pankratov.in\YandexDisk\!NTI\DOCS\ProjectPresentation\icons\PNG\256\83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309" y="55626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C:\Users\pankratov.in\YandexDisk\!NTI\DOCS\ProjectPresentation\icons\PNG\256\84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02309" y="460578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" descr="C:\Users\pankratov.in\YandexDisk\!NTI\DOCS\ProjectPresentation\icons\PNG\256\85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36703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" descr="C:\Users\pankratov.in\YandexDisk\!NTI\DOCS\ProjectPresentation\icons\PNG\256\86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28067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7" descr="C:\Users\pankratov.in\YandexDisk\!NTI\DOCS\ProjectPresentation\icons\PNG\256\87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7812" y="188849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8" descr="C:\Users\pankratov.in\YandexDisk\!NTI\DOCS\ProjectPresentation\icons\PNG\256\88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2218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29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06.2019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8</a:t>
            </a:fld>
            <a:endParaRPr lang="ru-RU" dirty="0"/>
          </a:p>
        </p:txBody>
      </p:sp>
      <p:pic>
        <p:nvPicPr>
          <p:cNvPr id="6" name="Picture 3" descr="C:\Users\pankratov.in\YandexDisk\!NTI\DOCS\ProjectPresentation\icons\PNG\256\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06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4" descr="C:\Users\pankratov.in\YandexDisk\!NTI\DOCS\ProjectPresentation\icons\PNG\256\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5" descr="C:\Users\pankratov.in\YandexDisk\!NTI\DOCS\ProjectPresentation\icons\PNG\256\4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460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C:\Users\pankratov.in\YandexDisk\!NTI\DOCS\ProjectPresentation\icons\PNG\256\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7" descr="C:\Users\pankratov.in\YandexDisk\!NTI\DOCS\ProjectPresentation\icons\PNG\256\6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8" descr="C:\Users\pankratov.in\YandexDisk\!NTI\DOCS\ProjectPresentation\icons\PNG\256\7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2946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9" descr="C:\Users\pankratov.in\YandexDisk\!NTI\DOCS\ProjectPresentation\icons\PNG\256\8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0" descr="C:\Users\pankratov.in\YandexDisk\!NTI\DOCS\ProjectPresentation\icons\PNG\256\9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1" descr="C:\Users\pankratov.in\YandexDisk\!NTI\DOCS\ProjectPresentation\icons\PNG\256\10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C:\Users\pankratov.in\YandexDisk\!NTI\DOCS\ProjectPresentation\icons\PNG\256\11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3" descr="C:\Users\pankratov.in\YandexDisk\!NTI\DOCS\ProjectPresentation\icons\PNG\256\12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19177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4" descr="C:\Users\pankratov.in\YandexDisk\!NTI\DOCS\ProjectPresentation\icons\PNG\256\13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5" descr="C:\Users\pankratov.in\YandexDisk\!NTI\DOCS\ProjectPresentation\icons\PNG\256\14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6" descr="C:\Users\pankratov.in\YandexDisk\!NTI\DOCS\ProjectPresentation\icons\PNG\256\15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7" descr="C:\Users\pankratov.in\YandexDisk\!NTI\DOCS\ProjectPresentation\icons\PNG\256\16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455" y="19431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8" descr="C:\Users\pankratov.in\YandexDisk\!NTI\DOCS\ProjectPresentation\icons\PNG\256\17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9" descr="C:\Users\pankratov.in\YandexDisk\!NTI\DOCS\ProjectPresentation\icons\PNG\256\18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0" descr="C:\Users\pankratov.in\YandexDisk\!NTI\DOCS\ProjectPresentation\icons\PNG\256\19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1" descr="C:\Users\pankratov.in\YandexDisk\!NTI\DOCS\ProjectPresentation\icons\PNG\256\20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19304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2" descr="C:\Users\pankratov.in\YandexDisk\!NTI\DOCS\ProjectPresentation\icons\PNG\256\21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83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3" descr="C:\Users\pankratov.in\YandexDisk\!NTI\DOCS\ProjectPresentation\icons\PNG\256\22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4" descr="C:\Users\pankratov.in\YandexDisk\!NTI\DOCS\ProjectPresentation\icons\PNG\256\23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5" descr="C:\Users\pankratov.in\YandexDisk\!NTI\DOCS\ProjectPresentation\icons\PNG\256\24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6" descr="C:\Users\pankratov.in\YandexDisk\!NTI\DOCS\ProjectPresentation\icons\PNG\256\25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7" descr="C:\Users\pankratov.in\YandexDisk\!NTI\DOCS\ProjectPresentation\icons\PNG\256\26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71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8" descr="C:\Users\pankratov.in\YandexDisk\!NTI\DOCS\ProjectPresentation\icons\PNG\256\27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9" descr="C:\Users\pankratov.in\YandexDisk\!NTI\DOCS\ProjectPresentation\icons\PNG\256\28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0" descr="C:\Users\pankratov.in\YandexDisk\!NTI\DOCS\ProjectPresentation\icons\PNG\256\29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10160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48" descr="C:\Users\pankratov.in\YandexDisk\!NTI\DOCS\ProjectPresentation\icons\PNG\256\12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49" descr="C:\Users\pankratov.in\YandexDisk\!NTI\DOCS\ProjectPresentation\icons\PNG\256\12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56769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50" descr="C:\Users\pankratov.in\YandexDisk\!NTI\DOCS\ProjectPresentation\icons\PNG\256\13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5689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51" descr="C:\Users\pankratov.in\YandexDisk\!NTI\DOCS\ProjectPresentation\icons\PNG\256\13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52" descr="C:\Users\pankratov.in\YandexDisk\!NTI\DOCS\ProjectPresentation\icons\PNG\256\13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53" descr="C:\Users\pankratov.in\YandexDisk\!NTI\DOCS\ProjectPresentation\icons\PNG\256\13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54" descr="C:\Users\pankratov.in\YandexDisk\!NTI\DOCS\ProjectPresentation\icons\PNG\256\13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4262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55" descr="C:\Users\pankratov.in\YandexDisk\!NTI\DOCS\ProjectPresentation\icons\PNG\256\13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56" descr="C:\Users\pankratov.in\YandexDisk\!NTI\DOCS\ProjectPresentation\icons\PNG\256\13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9309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57" descr="C:\Users\pankratov.in\YandexDisk\!NTI\DOCS\ProjectPresentation\icons\PNG\256\13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58" descr="C:\Users\pankratov.in\YandexDisk\!NTI\DOCS\ProjectPresentation\icons\PNG\256\13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5702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59" descr="C:\Users\pankratov.in\YandexDisk\!NTI\DOCS\ProjectPresentation\icons\PNG\256\13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47498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60" descr="C:\Users\pankratov.in\YandexDisk\!NTI\DOCS\ProjectPresentation\icons\PNG\256\14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47625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61" descr="C:\Users\pankratov.in\YandexDisk\!NTI\DOCS\ProjectPresentation\icons\PNG\256\14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47117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62" descr="C:\Users\pankratov.in\YandexDisk\!NTI\DOCS\ProjectPresentation\icons\PNG\256\14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0659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63" descr="C:\Users\pankratov.in\YandexDisk\!NTI\DOCS\ProjectPresentation\icons\PNG\256\14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26262" y="47498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64" descr="C:\Users\pankratov.in\YandexDisk\!NTI\DOCS\ProjectPresentation\icons\PNG\256\14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5553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65" descr="C:\Users\pankratov.in\YandexDisk\!NTI\DOCS\ProjectPresentation\icons\PNG\256\145.png"/>
          <p:cNvPicPr>
            <a:picLocks noChangeAspect="1" noChangeArrowheads="1"/>
          </p:cNvPicPr>
          <p:nvPr/>
        </p:nvPicPr>
        <p:blipFill>
          <a:blip r:embed="rId4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3553" y="48006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66" descr="C:\Users\pankratov.in\YandexDisk\!NTI\DOCS\ProjectPresentation\icons\PNG\256\146.png"/>
          <p:cNvPicPr>
            <a:picLocks noChangeAspect="1" noChangeArrowheads="1"/>
          </p:cNvPicPr>
          <p:nvPr/>
        </p:nvPicPr>
        <p:blipFill>
          <a:blip r:embed="rId4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47752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67" descr="C:\Users\pankratov.in\YandexDisk\!NTI\DOCS\ProjectPresentation\icons\PNG\256\147.png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4711701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4" name="Picture 68" descr="C:\Users\pankratov.in\YandexDisk\!NTI\DOCS\ProjectPresentation\icons\PNG\256\148.png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53" y="4800602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5" name="Picture 69" descr="C:\Users\pankratov.in\YandexDisk\!NTI\DOCS\ProjectPresentation\icons\PNG\256\149.png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3924303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70" descr="C:\Users\pankratov.in\YandexDisk\!NTI\DOCS\ProjectPresentation\icons\PNG\256\150.png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9009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71" descr="C:\Users\pankratov.in\YandexDisk\!NTI\DOCS\ProjectPresentation\icons\PNG\256\151.png"/>
          <p:cNvPicPr>
            <a:picLocks noChangeAspect="1" noChangeArrowheads="1"/>
          </p:cNvPicPr>
          <p:nvPr/>
        </p:nvPicPr>
        <p:blipFill>
          <a:blip r:embed="rId5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3354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72" descr="C:\Users\pankratov.in\YandexDisk\!NTI\DOCS\ProjectPresentation\icons\PNG\256\152.png"/>
          <p:cNvPicPr>
            <a:picLocks noChangeAspect="1" noChangeArrowheads="1"/>
          </p:cNvPicPr>
          <p:nvPr/>
        </p:nvPicPr>
        <p:blipFill>
          <a:blip r:embed="rId5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8953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73" descr="C:\Users\pankratov.in\YandexDisk\!NTI\DOCS\ProjectPresentation\icons\PNG\256\153.png"/>
          <p:cNvPicPr>
            <a:picLocks noChangeAspect="1" noChangeArrowheads="1"/>
          </p:cNvPicPr>
          <p:nvPr/>
        </p:nvPicPr>
        <p:blipFill>
          <a:blip r:embed="rId5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906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74" descr="C:\Users\pankratov.in\YandexDisk\!NTI\DOCS\ProjectPresentation\icons\PNG\256\154.png"/>
          <p:cNvPicPr>
            <a:picLocks noChangeAspect="1" noChangeArrowheads="1"/>
          </p:cNvPicPr>
          <p:nvPr/>
        </p:nvPicPr>
        <p:blipFill>
          <a:blip r:embed="rId5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44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75" descr="C:\Users\pankratov.in\YandexDisk\!NTI\DOCS\ProjectPresentation\icons\PNG\256\155.png"/>
          <p:cNvPicPr>
            <a:picLocks noChangeAspect="1" noChangeArrowheads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69256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76" descr="C:\Users\pankratov.in\YandexDisk\!NTI\DOCS\ProjectPresentation\icons\PNG\256\156.png"/>
          <p:cNvPicPr>
            <a:picLocks noChangeAspect="1" noChangeArrowheads="1"/>
          </p:cNvPicPr>
          <p:nvPr/>
        </p:nvPicPr>
        <p:blipFill>
          <a:blip r:embed="rId5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72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77" descr="C:\Users\pankratov.in\YandexDisk\!NTI\DOCS\ProjectPresentation\icons\PNG\256\157.png"/>
          <p:cNvPicPr>
            <a:picLocks noChangeAspect="1" noChangeArrowheads="1"/>
          </p:cNvPicPr>
          <p:nvPr/>
        </p:nvPicPr>
        <p:blipFill>
          <a:blip r:embed="rId6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3655" y="38608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78" descr="C:\Users\pankratov.in\YandexDisk\!NTI\DOCS\ProjectPresentation\icons\PNG\256\158.png"/>
          <p:cNvPicPr>
            <a:picLocks noChangeAspect="1" noChangeArrowheads="1"/>
          </p:cNvPicPr>
          <p:nvPr/>
        </p:nvPicPr>
        <p:blipFill>
          <a:blip r:embed="rId6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8809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79" descr="C:\Users\pankratov.in\YandexDisk\!NTI\DOCS\ProjectPresentation\icons\PNG\256\159.png"/>
          <p:cNvPicPr>
            <a:picLocks noChangeAspect="1" noChangeArrowheads="1"/>
          </p:cNvPicPr>
          <p:nvPr/>
        </p:nvPicPr>
        <p:blipFill>
          <a:blip r:embed="rId6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0456" y="2895600"/>
            <a:ext cx="762000" cy="76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64353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абор иконок для визуализации моделей</a:t>
            </a:r>
            <a:endParaRPr lang="ru-RU" b="1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9FE868-178E-0F4D-8A9A-79941EADC299}" type="datetime1">
              <a:rPr lang="ru-RU" smtClean="0"/>
              <a:pPr/>
              <a:t>21.06.2019</a:t>
            </a:fld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7091220" y="6426078"/>
            <a:ext cx="2228850" cy="365125"/>
          </a:xfrm>
        </p:spPr>
        <p:txBody>
          <a:bodyPr/>
          <a:lstStyle/>
          <a:p>
            <a:fld id="{3EF660E9-E116-4F2D-91B7-27BAC0D3A970}" type="slidenum">
              <a:rPr lang="ru-RU" smtClean="0"/>
              <a:pPr/>
              <a:t>19</a:t>
            </a:fld>
            <a:endParaRPr lang="ru-RU" dirty="0"/>
          </a:p>
        </p:txBody>
      </p:sp>
      <p:pic>
        <p:nvPicPr>
          <p:cNvPr id="6" name="Picture 2" descr="C:\Users\pankratov.in\YandexDisk\!NTI\DOCS\ProjectPresentation\icons\PNG\256\48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9724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3" descr="C:\Users\pankratov.in\YandexDisk\!NTI\DOCS\ProjectPresentation\icons\PNG\256\401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386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 descr="C:\Users\pankratov.in\YandexDisk\!NTI\DOCS\ProjectPresentation\icons\PNG\256\40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577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5" descr="C:\Users\pankratov.in\YandexDisk\!NTI\DOCS\ProjectPresentation\icons\PNG\256\403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6" descr="C:\Users\pankratov.in\YandexDisk\!NTI\DOCS\ProjectPresentation\icons\PNG\256\404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1139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7" descr="C:\Users\pankratov.in\YandexDisk\!NTI\DOCS\ProjectPresentation\icons\PNG\256\405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993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8" descr="C:\Users\pankratov.in\YandexDisk\!NTI\DOCS\ProjectPresentation\icons\PNG\256\406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56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9" descr="C:\Users\pankratov.in\YandexDisk\!NTI\DOCS\ProjectPresentation\icons\PNG\256\407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57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10" descr="C:\Users\pankratov.in\YandexDisk\!NTI\DOCS\ProjectPresentation\icons\PNG\256\40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367" y="459422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1" descr="C:\Users\pankratov.in\YandexDisk\!NTI\DOCS\ProjectPresentation\icons\PNG\256\409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62803" y="37343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2" descr="C:\Users\pankratov.in\YandexDisk\!NTI\DOCS\ProjectPresentation\icons\PNG\256\410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7613" y="3734310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3" descr="C:\Users\pankratov.in\YandexDisk\!NTI\DOCS\ProjectPresentation\icons\PNG\256\411.png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833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C:\Users\pankratov.in\YandexDisk\!NTI\DOCS\ProjectPresentation\icons\PNG\256\412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7488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C:\Users\pankratov.in\YandexDisk\!NTI\DOCS\ProjectPresentation\icons\PNG\256\413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4386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6" descr="C:\Users\pankratov.in\YandexDisk\!NTI\DOCS\ProjectPresentation\icons\PNG\256\414.png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9996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7" descr="C:\Users\pankratov.in\YandexDisk\!NTI\DOCS\ProjectPresentation\icons\PNG\256\415.pn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1748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8" descr="C:\Users\pankratov.in\YandexDisk\!NTI\DOCS\ProjectPresentation\icons\PNG\256\416.png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434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9" descr="C:\Users\pankratov.in\YandexDisk\!NTI\DOCS\ProjectPresentation\icons\PNG\256\417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967" y="3721484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0" descr="C:\Users\pankratov.in\YandexDisk\!NTI\DOCS\ProjectPresentation\icons\PNG\256\418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3903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1" descr="C:\Users\pankratov.in\YandexDisk\!NTI\DOCS\ProjectPresentation\icons\PNG\256\419.png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01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2" descr="C:\Users\pankratov.in\YandexDisk\!NTI\DOCS\ProjectPresentation\icons\PNG\256\420.pn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2833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3" descr="C:\Users\pankratov.in\YandexDisk\!NTI\DOCS\ProjectPresentation\icons\PNG\256\421.png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431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4" descr="C:\Users\pankratov.in\YandexDisk\!NTI\DOCS\ProjectPresentation\icons\PNG\256\422.png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2798699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5" descr="C:\Users\pankratov.in\YandexDisk\!NTI\DOCS\ProjectPresentation\icons\PNG\256\423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5736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6" descr="C:\Users\pankratov.in\YandexDisk\!NTI\DOCS\ProjectPresentation\icons\PNG\256\424.png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67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7" descr="C:\Users\pankratov.in\YandexDisk\!NTI\DOCS\ProjectPresentation\icons\PNG\256\425.png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6179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8" descr="C:\Users\pankratov.in\YandexDisk\!NTI\DOCS\ProjectPresentation\icons\PNG\256\426.png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28277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29" descr="C:\Users\pankratov.in\YandexDisk\!NTI\DOCS\ProjectPresentation\icons\PNG\256\427.png"/>
          <p:cNvPicPr>
            <a:picLocks noChangeAspect="1" noChangeArrowheads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76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30" descr="C:\Users\pankratov.in\YandexDisk\!NTI\DOCS\ProjectPresentation\icons\PNG\256\428.png"/>
          <p:cNvPicPr>
            <a:picLocks noChangeAspect="1" noChangeArrowheads="1"/>
          </p:cNvPicPr>
          <p:nvPr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123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1" descr="C:\Users\pankratov.in\YandexDisk\!NTI\DOCS\ProjectPresentation\icons\PNG\256\429.png"/>
          <p:cNvPicPr>
            <a:picLocks noChangeAspect="1" noChangeArrowheads="1"/>
          </p:cNvPicPr>
          <p:nvPr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921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2" descr="C:\Users\pankratov.in\YandexDisk\!NTI\DOCS\ProjectPresentation\icons\PNG\256\430.png"/>
          <p:cNvPicPr>
            <a:picLocks noChangeAspect="1" noChangeArrowheads="1"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82431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33" descr="C:\Users\pankratov.in\YandexDisk\!NTI\DOCS\ProjectPresentation\icons\PNG\256\431.png"/>
          <p:cNvPicPr>
            <a:picLocks noChangeAspect="1" noChangeArrowheads="1"/>
          </p:cNvPicPr>
          <p:nvPr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429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4" descr="C:\Users\pankratov.in\YandexDisk\!NTI\DOCS\ProjectPresentation\icons\PNG\256\432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Picture 35" descr="C:\Users\pankratov.in\YandexDisk\!NTI\DOCS\ProjectPresentation\icons\PNG\256\433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4567" y="1887985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Picture 36" descr="C:\Users\pankratov.in\YandexDisk\!NTI\DOCS\ProjectPresentation\icons\PNG\256\434.png"/>
          <p:cNvPicPr>
            <a:picLocks noChangeAspect="1" noChangeArrowheads="1"/>
          </p:cNvPicPr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657" y="1926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" name="Picture 37" descr="C:\Users\pankratov.in\YandexDisk\!NTI\DOCS\ProjectPresentation\icons\PNG\256\435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567" y="19260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38" descr="C:\Users\pankratov.in\YandexDisk\!NTI\DOCS\ProjectPresentation\icons\PNG\256\436.png"/>
          <p:cNvPicPr>
            <a:picLocks noChangeAspect="1" noChangeArrowheads="1"/>
          </p:cNvPicPr>
          <p:nvPr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67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39" descr="C:\Users\pankratov.in\YandexDisk\!NTI\DOCS\ProjectPresentation\icons\PNG\256\437.png"/>
          <p:cNvPicPr>
            <a:picLocks noChangeAspect="1" noChangeArrowheads="1"/>
          </p:cNvPicPr>
          <p:nvPr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9123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0" descr="C:\Users\pankratov.in\YandexDisk\!NTI\DOCS\ProjectPresentation\icons\PNG\256\438.png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4921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5" name="Picture 41" descr="C:\Users\pankratov.in\YandexDisk\!NTI\DOCS\ProjectPresentation\icons\PNG\256\439.png"/>
          <p:cNvPicPr>
            <a:picLocks noChangeAspect="1" noChangeArrowheads="1"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5131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42" descr="C:\Users\pankratov.in\YandexDisk\!NTI\DOCS\ProjectPresentation\icons\PNG\256\440.png"/>
          <p:cNvPicPr>
            <a:picLocks noChangeAspect="1" noChangeArrowheads="1"/>
          </p:cNvPicPr>
          <p:nvPr/>
        </p:nvPicPr>
        <p:blipFill>
          <a:blip r:embed="rId4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7429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43" descr="C:\Users\pankratov.in\YandexDisk\!NTI\DOCS\ProjectPresentation\icons\PNG\256\441.png"/>
          <p:cNvPicPr>
            <a:picLocks noChangeAspect="1" noChangeArrowheads="1"/>
          </p:cNvPicPr>
          <p:nvPr/>
        </p:nvPicPr>
        <p:blipFill>
          <a:blip r:embed="rId4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432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44" descr="C:\Users\pankratov.in\YandexDisk\!NTI\DOCS\ProjectPresentation\icons\PNG\256\442.png"/>
          <p:cNvPicPr>
            <a:picLocks noChangeAspect="1" noChangeArrowheads="1"/>
          </p:cNvPicPr>
          <p:nvPr/>
        </p:nvPicPr>
        <p:blipFill>
          <a:blip r:embed="rId4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6723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Picture 45" descr="C:\Users\pankratov.in\YandexDisk\!NTI\DOCS\ProjectPresentation\icons\PNG\256\443.png"/>
          <p:cNvPicPr>
            <a:picLocks noChangeAspect="1" noChangeArrowheads="1"/>
          </p:cNvPicPr>
          <p:nvPr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5186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0" name="Picture 46" descr="C:\Users\pankratov.in\YandexDisk\!NTI\DOCS\ProjectPresentation\icons\PNG\256\444.png"/>
          <p:cNvPicPr>
            <a:picLocks noChangeAspect="1" noChangeArrowheads="1"/>
          </p:cNvPicPr>
          <p:nvPr/>
        </p:nvPicPr>
        <p:blipFill>
          <a:blip r:embed="rId4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3657" y="948182"/>
            <a:ext cx="796290" cy="7962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7640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447832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Профиль проекта</a:t>
            </a:r>
            <a:endParaRPr lang="ru-RU" sz="1286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Shape 185" descr="C:\Users\pankratov.in\YandexDisk\!NTI\DOCS\ProjectPresentation\icons\PNG\256\19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78217" y="840843"/>
            <a:ext cx="430058" cy="411474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TextBox 8"/>
          <p:cNvSpPr txBox="1"/>
          <p:nvPr/>
        </p:nvSpPr>
        <p:spPr>
          <a:xfrm>
            <a:off x="974720" y="860130"/>
            <a:ext cx="112639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Цель проекта</a:t>
            </a:r>
            <a:endParaRPr lang="ru-RU" sz="1286" dirty="0"/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 flipH="1">
            <a:off x="381000" y="3017526"/>
            <a:ext cx="518921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/>
          <p:cNvSpPr txBox="1"/>
          <p:nvPr/>
        </p:nvSpPr>
        <p:spPr>
          <a:xfrm>
            <a:off x="975162" y="3132163"/>
            <a:ext cx="15573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Результаты проекта</a:t>
            </a:r>
            <a:endParaRPr lang="ru-RU" sz="1286" dirty="0"/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H="1">
            <a:off x="375349" y="5229200"/>
            <a:ext cx="9149651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Shape 186" descr="C:\Users\pankratov.in\YandexDisk\!NTI\DOCS\ProjectPresentation\icons\PNG\256\246.png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83655" y="5300038"/>
            <a:ext cx="649242" cy="649242"/>
          </a:xfrm>
          <a:prstGeom prst="rect">
            <a:avLst/>
          </a:prstGeom>
          <a:noFill/>
          <a:ln>
            <a:noFill/>
          </a:ln>
        </p:spPr>
      </p:pic>
      <p:sp>
        <p:nvSpPr>
          <p:cNvPr id="28" name="Shape 180"/>
          <p:cNvSpPr/>
          <p:nvPr/>
        </p:nvSpPr>
        <p:spPr>
          <a:xfrm>
            <a:off x="1422797" y="5388687"/>
            <a:ext cx="461390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dirty="0">
                <a:sym typeface="Calibri"/>
              </a:rPr>
              <a:t>Общая стоимость </a:t>
            </a:r>
            <a:r>
              <a:rPr lang="ru-RU" sz="1286" dirty="0">
                <a:sym typeface="Calibri"/>
              </a:rPr>
              <a:t>проекта (тыс</a:t>
            </a:r>
            <a:r>
              <a:rPr lang="ru-RU" sz="1286" dirty="0">
                <a:sym typeface="Calibri"/>
              </a:rPr>
              <a:t>. рублей)</a:t>
            </a:r>
            <a:endParaRPr sz="1286" dirty="0"/>
          </a:p>
        </p:txBody>
      </p:sp>
      <p:sp>
        <p:nvSpPr>
          <p:cNvPr id="29" name="Shape 189"/>
          <p:cNvSpPr/>
          <p:nvPr/>
        </p:nvSpPr>
        <p:spPr>
          <a:xfrm>
            <a:off x="5261606" y="5400217"/>
            <a:ext cx="1134336" cy="312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286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</a:t>
            </a:r>
            <a:r>
              <a:rPr lang="en-US" sz="1286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9</a:t>
            </a:r>
            <a:r>
              <a:rPr lang="ru-RU" sz="1286" b="1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000</a:t>
            </a:r>
            <a:endParaRPr sz="1286" b="1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0" name="Shape 187"/>
          <p:cNvSpPr/>
          <p:nvPr/>
        </p:nvSpPr>
        <p:spPr>
          <a:xfrm>
            <a:off x="1605364" y="5980340"/>
            <a:ext cx="1598871" cy="4396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обственные </a:t>
            </a:r>
            <a: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редства</a:t>
            </a:r>
            <a:b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tx1">
                    <a:lumMod val="75000"/>
                    <a:lumOff val="2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174 000</a:t>
            </a:r>
            <a:endParaRPr sz="1143" b="1" dirty="0">
              <a:solidFill>
                <a:schemeClr val="tx1">
                  <a:lumMod val="75000"/>
                  <a:lumOff val="2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1" name="Shape 190"/>
          <p:cNvSpPr/>
          <p:nvPr/>
        </p:nvSpPr>
        <p:spPr>
          <a:xfrm>
            <a:off x="4027183" y="5980742"/>
            <a:ext cx="182783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Привлекаемые </a:t>
            </a: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средства</a:t>
            </a:r>
            <a:b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en-US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385 </a:t>
            </a: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000</a:t>
            </a:r>
            <a:endParaRPr sz="1143" b="1" dirty="0">
              <a:solidFill>
                <a:schemeClr val="accent5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32" name="Диаграмма 31"/>
          <p:cNvGraphicFramePr/>
          <p:nvPr>
            <p:extLst/>
          </p:nvPr>
        </p:nvGraphicFramePr>
        <p:xfrm>
          <a:off x="3170395" y="5753834"/>
          <a:ext cx="965142" cy="9155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5" name="Shape 208"/>
          <p:cNvSpPr/>
          <p:nvPr/>
        </p:nvSpPr>
        <p:spPr>
          <a:xfrm>
            <a:off x="478217" y="1271022"/>
            <a:ext cx="4989126" cy="547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</a:rPr>
              <a:t>Создание масштабируемого программного продукта, обеспечивающего администрируемое управление финансовой группой произвольного размера (от группы компаний, до финансового сектора страны) на базе технологий распределенного реестра с использованием шифрования на базе доказательства с нулевым разглашением (</a:t>
            </a:r>
            <a:r>
              <a:rPr lang="ru-RU" sz="1071" dirty="0" err="1">
                <a:latin typeface="Calibri" panose="020F0502020204030204" pitchFamily="34" charset="0"/>
                <a:cs typeface="Calibri" panose="020F0502020204030204" pitchFamily="34" charset="0"/>
              </a:rPr>
              <a:t>zero-knowledge</a:t>
            </a: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71" dirty="0" err="1">
                <a:latin typeface="Calibri" panose="020F0502020204030204" pitchFamily="34" charset="0"/>
                <a:cs typeface="Calibri" panose="020F0502020204030204" pitchFamily="34" charset="0"/>
              </a:rPr>
              <a:t>proof</a:t>
            </a: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</p:txBody>
      </p:sp>
      <p:sp>
        <p:nvSpPr>
          <p:cNvPr id="37" name="Shape 208"/>
          <p:cNvSpPr/>
          <p:nvPr/>
        </p:nvSpPr>
        <p:spPr>
          <a:xfrm>
            <a:off x="581086" y="3551774"/>
            <a:ext cx="4989126" cy="5470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</a:rPr>
              <a:t>Создание масштабируемого программного продукта, обеспечивающего администрируемое управление финансовой группой произвольного размера (от группы компаний, до финансового сектора страны) на базе технологий распределенного реестра с использованием шифрования на базе доказательства с нулевым разглашением (</a:t>
            </a:r>
            <a:r>
              <a:rPr lang="ru-RU" sz="1071" dirty="0" err="1">
                <a:latin typeface="Calibri" panose="020F0502020204030204" pitchFamily="34" charset="0"/>
                <a:cs typeface="Calibri" panose="020F0502020204030204" pitchFamily="34" charset="0"/>
              </a:rPr>
              <a:t>zero-knowledge</a:t>
            </a: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071" dirty="0" err="1">
                <a:latin typeface="Calibri" panose="020F0502020204030204" pitchFamily="34" charset="0"/>
                <a:cs typeface="Calibri" panose="020F0502020204030204" pitchFamily="34" charset="0"/>
              </a:rPr>
              <a:t>proof</a:t>
            </a: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</a:rPr>
              <a:t>).</a:t>
            </a:r>
          </a:p>
        </p:txBody>
      </p:sp>
      <p:pic>
        <p:nvPicPr>
          <p:cNvPr id="39" name="Shape 177" descr="C:\Users\pankratov.in\YandexDisk\!NTI\DOCS\ProjectPresentation\icons\PNG\256\330.png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543549" y="3120394"/>
            <a:ext cx="411831" cy="402970"/>
          </a:xfrm>
          <a:prstGeom prst="rect">
            <a:avLst/>
          </a:prstGeom>
          <a:noFill/>
          <a:ln>
            <a:noFill/>
          </a:ln>
        </p:spPr>
      </p:pic>
      <p:sp>
        <p:nvSpPr>
          <p:cNvPr id="45" name="TextBox 44"/>
          <p:cNvSpPr txBox="1"/>
          <p:nvPr/>
        </p:nvSpPr>
        <p:spPr>
          <a:xfrm>
            <a:off x="5695734" y="805852"/>
            <a:ext cx="1405449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Команда проекта</a:t>
            </a:r>
            <a:endParaRPr lang="ru-RU" sz="1286" dirty="0"/>
          </a:p>
        </p:txBody>
      </p:sp>
      <p:sp>
        <p:nvSpPr>
          <p:cNvPr id="46" name="Shape 275"/>
          <p:cNvSpPr/>
          <p:nvPr/>
        </p:nvSpPr>
        <p:spPr>
          <a:xfrm>
            <a:off x="8030509" y="1112576"/>
            <a:ext cx="1562335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Петр Петров</a:t>
            </a: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929" dirty="0">
                <a:latin typeface="Calibri"/>
                <a:ea typeface="Calibri"/>
                <a:cs typeface="Calibri"/>
                <a:sym typeface="Calibri"/>
              </a:rPr>
              <a:t>Автор идеи и методолог</a:t>
            </a:r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47" name="Shape 280"/>
          <p:cNvSpPr/>
          <p:nvPr/>
        </p:nvSpPr>
        <p:spPr>
          <a:xfrm>
            <a:off x="8028607" y="1423063"/>
            <a:ext cx="1399176" cy="30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786" dirty="0">
                <a:latin typeface="Calibri"/>
                <a:ea typeface="Calibri"/>
                <a:cs typeface="Calibri"/>
              </a:rPr>
              <a:t>Н</a:t>
            </a:r>
            <a:r>
              <a:rPr lang="ru-RU" sz="929" dirty="0">
                <a:latin typeface="Calibri"/>
                <a:ea typeface="Calibri"/>
                <a:cs typeface="Calibri"/>
              </a:rPr>
              <a:t>а</a:t>
            </a:r>
            <a:r>
              <a:rPr lang="ru-RU" sz="786" dirty="0">
                <a:latin typeface="Calibri"/>
                <a:ea typeface="Calibri"/>
                <a:cs typeface="Calibri"/>
              </a:rPr>
              <a:t>учный руководитель </a:t>
            </a:r>
            <a:r>
              <a:rPr lang="ru-RU" sz="786" dirty="0">
                <a:latin typeface="Calibri"/>
                <a:ea typeface="Calibri"/>
                <a:cs typeface="Calibri"/>
              </a:rPr>
              <a:t>МФТИ, </a:t>
            </a:r>
            <a:r>
              <a:rPr lang="en-US" sz="786" dirty="0">
                <a:latin typeface="Calibri"/>
                <a:ea typeface="Calibri"/>
                <a:cs typeface="Calibri"/>
              </a:rPr>
              <a:t>CFA </a:t>
            </a:r>
            <a:r>
              <a:rPr lang="en-US" sz="786" dirty="0" err="1">
                <a:latin typeface="Calibri"/>
                <a:ea typeface="Calibri"/>
                <a:cs typeface="Calibri"/>
              </a:rPr>
              <a:t>Charterholder</a:t>
            </a:r>
            <a:endParaRPr sz="786" dirty="0">
              <a:latin typeface="Calibri"/>
              <a:ea typeface="Calibri"/>
              <a:cs typeface="Calibri"/>
            </a:endParaRPr>
          </a:p>
        </p:txBody>
      </p:sp>
      <p:sp>
        <p:nvSpPr>
          <p:cNvPr id="48" name="Shape 275"/>
          <p:cNvSpPr/>
          <p:nvPr/>
        </p:nvSpPr>
        <p:spPr>
          <a:xfrm>
            <a:off x="6231043" y="1112576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lvl="0"/>
            <a:r>
              <a:rPr lang="ru-RU" sz="1000" b="1" dirty="0">
                <a:solidFill>
                  <a:srgbClr val="003462"/>
                </a:solidFill>
                <a:sym typeface="Calibri"/>
              </a:rPr>
              <a:t>Иван Иванов</a:t>
            </a:r>
            <a:endParaRPr sz="1286" dirty="0"/>
          </a:p>
        </p:txBody>
      </p:sp>
      <p:sp>
        <p:nvSpPr>
          <p:cNvPr id="49" name="Shape 280"/>
          <p:cNvSpPr/>
          <p:nvPr/>
        </p:nvSpPr>
        <p:spPr>
          <a:xfrm>
            <a:off x="6229141" y="1484351"/>
            <a:ext cx="1309651" cy="3077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786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ООО «</a:t>
            </a:r>
            <a:r>
              <a:rPr lang="ru-RU" sz="786" dirty="0">
                <a:latin typeface="Calibri"/>
                <a:ea typeface="Calibri"/>
                <a:cs typeface="Calibri"/>
                <a:sym typeface="Calibri"/>
              </a:rPr>
              <a:t>Пример 1</a:t>
            </a:r>
            <a:r>
              <a:rPr lang="ru-RU" sz="786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», </a:t>
            </a:r>
          </a:p>
          <a:p>
            <a:r>
              <a:rPr lang="ru-RU" sz="786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Ген. директор</a:t>
            </a:r>
            <a:endParaRPr sz="1286" dirty="0"/>
          </a:p>
        </p:txBody>
      </p:sp>
      <p:sp>
        <p:nvSpPr>
          <p:cNvPr id="50" name="Shape 275"/>
          <p:cNvSpPr/>
          <p:nvPr/>
        </p:nvSpPr>
        <p:spPr>
          <a:xfrm>
            <a:off x="6231043" y="1873978"/>
            <a:ext cx="1585940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Илья </a:t>
            </a: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Ильин</a:t>
            </a: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929" dirty="0">
                <a:latin typeface="Calibri"/>
                <a:ea typeface="Calibri"/>
                <a:cs typeface="Calibri"/>
                <a:sym typeface="Calibri"/>
              </a:rPr>
              <a:t>Архитектор системы</a:t>
            </a:r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51" name="Shape 280"/>
          <p:cNvSpPr/>
          <p:nvPr/>
        </p:nvSpPr>
        <p:spPr>
          <a:xfrm>
            <a:off x="6229141" y="2193484"/>
            <a:ext cx="1309651" cy="309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786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Руководитель </a:t>
            </a:r>
            <a:r>
              <a:rPr lang="ru-RU" sz="786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проектов</a:t>
            </a:r>
            <a:r>
              <a:rPr lang="en-US" sz="786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ru-RU" sz="786" dirty="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rPr>
              <a:t>научный сотрудник ИАП РАН</a:t>
            </a:r>
            <a:endParaRPr sz="786" dirty="0">
              <a:solidFill>
                <a:srgbClr val="000000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52" name="Shape 275"/>
          <p:cNvSpPr/>
          <p:nvPr/>
        </p:nvSpPr>
        <p:spPr>
          <a:xfrm>
            <a:off x="8030509" y="1858267"/>
            <a:ext cx="1494491" cy="3737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>Сергей Серов</a:t>
            </a:r>
            <a: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000" b="1" dirty="0">
                <a:solidFill>
                  <a:srgbClr val="00346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929" dirty="0">
                <a:latin typeface="Calibri"/>
                <a:ea typeface="Calibri"/>
                <a:cs typeface="Calibri"/>
                <a:sym typeface="Calibri"/>
              </a:rPr>
              <a:t>Технический руководитель</a:t>
            </a:r>
            <a:endParaRPr sz="929" dirty="0">
              <a:latin typeface="Calibri"/>
              <a:ea typeface="Calibri"/>
              <a:cs typeface="Calibri"/>
            </a:endParaRPr>
          </a:p>
        </p:txBody>
      </p:sp>
      <p:sp>
        <p:nvSpPr>
          <p:cNvPr id="53" name="Shape 280"/>
          <p:cNvSpPr/>
          <p:nvPr/>
        </p:nvSpPr>
        <p:spPr>
          <a:xfrm>
            <a:off x="8028607" y="2166873"/>
            <a:ext cx="1346012" cy="30740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786" dirty="0">
                <a:latin typeface="Calibri"/>
                <a:sym typeface="Calibri"/>
              </a:rPr>
              <a:t>Старший руководитель направления по развитию </a:t>
            </a:r>
            <a:r>
              <a:rPr lang="en-US" sz="786" dirty="0">
                <a:latin typeface="Calibri"/>
                <a:sym typeface="Calibri"/>
              </a:rPr>
              <a:t>IT </a:t>
            </a:r>
            <a:r>
              <a:rPr lang="ru-RU" sz="786" dirty="0">
                <a:latin typeface="Calibri"/>
                <a:sym typeface="Calibri"/>
              </a:rPr>
              <a:t>систем, ООО Пример 2</a:t>
            </a:r>
            <a:endParaRPr sz="1286" dirty="0"/>
          </a:p>
        </p:txBody>
      </p:sp>
      <p:sp>
        <p:nvSpPr>
          <p:cNvPr id="54" name="Rounded Rectangle 2099"/>
          <p:cNvSpPr/>
          <p:nvPr/>
        </p:nvSpPr>
        <p:spPr>
          <a:xfrm>
            <a:off x="6237922" y="1299024"/>
            <a:ext cx="1197820" cy="226960"/>
          </a:xfrm>
          <a:prstGeom prst="roundRect">
            <a:avLst>
              <a:gd name="adj" fmla="val 25436"/>
            </a:avLst>
          </a:prstGeom>
          <a:solidFill>
            <a:srgbClr val="D1E2EB">
              <a:alpha val="70980"/>
            </a:srgbClr>
          </a:solidFill>
          <a:ln w="6350">
            <a:solidFill>
              <a:schemeClr val="accent2">
                <a:lumMod val="75000"/>
              </a:schemeClr>
            </a:solidFill>
          </a:ln>
        </p:spPr>
        <p:txBody>
          <a:bodyPr wrap="square" lIns="0" tIns="25712" rIns="0" bIns="25712" anchor="ctr">
            <a:spAutoFit/>
          </a:bodyPr>
          <a:lstStyle/>
          <a:p>
            <a:pPr lvl="0" algn="ctr"/>
            <a:r>
              <a:rPr lang="ru-RU" sz="929" dirty="0">
                <a:latin typeface="Calibri"/>
                <a:ea typeface="Calibri"/>
                <a:cs typeface="Calibri"/>
              </a:rPr>
              <a:t>Руководитель проекта</a:t>
            </a:r>
          </a:p>
        </p:txBody>
      </p:sp>
      <p:pic>
        <p:nvPicPr>
          <p:cNvPr id="58" name="Picture 5" descr="C:\Users\User\Desktop\246134109_3192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2256" y="1931379"/>
            <a:ext cx="363374" cy="545274"/>
          </a:xfrm>
          <a:prstGeom prst="rect">
            <a:avLst/>
          </a:prstGeom>
          <a:noFill/>
          <a:ln w="15875" cap="flat" cmpd="sng">
            <a:noFill/>
            <a:round/>
            <a:headEnd/>
            <a:tailEnd/>
          </a:ln>
          <a:effectLst>
            <a:outerShdw blurRad="127000" dist="38100" dir="2700000" sx="99000" sy="99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9" name="Прямоугольник 58"/>
          <p:cNvSpPr/>
          <p:nvPr/>
        </p:nvSpPr>
        <p:spPr>
          <a:xfrm>
            <a:off x="5673080" y="2538082"/>
            <a:ext cx="4139244" cy="285878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29"/>
              </a:spcBef>
            </a:pPr>
            <a:r>
              <a:rPr lang="ru-RU" sz="1429" dirty="0"/>
              <a:t>Компания-инициатор</a:t>
            </a:r>
            <a:endParaRPr lang="ru-RU" sz="1429" b="1" u="sng" dirty="0">
              <a:solidFill>
                <a:srgbClr val="232323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63" name="Shape 179"/>
          <p:cNvSpPr/>
          <p:nvPr/>
        </p:nvSpPr>
        <p:spPr>
          <a:xfrm>
            <a:off x="6695133" y="4284212"/>
            <a:ext cx="1755399" cy="10478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r>
              <a:rPr lang="ru-RU" sz="1071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071" b="1" dirty="0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Этап </a:t>
            </a: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1. Пилот: 2018-2019</a:t>
            </a:r>
            <a:endParaRPr sz="107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429"/>
              </a:spcBef>
            </a:pP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Этап 2. Развитие: 2019-2020</a:t>
            </a:r>
            <a:endParaRPr sz="107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ts val="429"/>
              </a:spcBef>
            </a:pPr>
            <a:r>
              <a:rPr lang="ru-RU" sz="1071" dirty="0">
                <a:latin typeface="Calibri" panose="020F0502020204030204" pitchFamily="34" charset="0"/>
                <a:cs typeface="Calibri" panose="020F0502020204030204" pitchFamily="34" charset="0"/>
                <a:sym typeface="Calibri"/>
              </a:rPr>
              <a:t>Этап 3. Тираж: 2019-2020</a:t>
            </a:r>
            <a:endParaRPr sz="107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sz="1071" dirty="0">
              <a:latin typeface="Calibri" panose="020F0502020204030204" pitchFamily="34" charset="0"/>
              <a:cs typeface="Calibri" panose="020F0502020204030204" pitchFamily="34" charset="0"/>
              <a:sym typeface="Calibri"/>
            </a:endParaRPr>
          </a:p>
        </p:txBody>
      </p:sp>
      <p:pic>
        <p:nvPicPr>
          <p:cNvPr id="64" name="Shape 191" descr="C:\Users\pankratov.in\YandexDisk\!NTI\DOCS\ProjectPresentation\icons\PNG\256\372.png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6265509" y="4250595"/>
            <a:ext cx="352459" cy="361394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6" name="Shape 203"/>
          <p:cNvGrpSpPr/>
          <p:nvPr/>
        </p:nvGrpSpPr>
        <p:grpSpPr>
          <a:xfrm>
            <a:off x="6238857" y="4171603"/>
            <a:ext cx="215490" cy="263809"/>
            <a:chOff x="8202534" y="1348519"/>
            <a:chExt cx="301686" cy="369332"/>
          </a:xfrm>
        </p:grpSpPr>
        <p:sp>
          <p:nvSpPr>
            <p:cNvPr id="67" name="Shape 204"/>
            <p:cNvSpPr/>
            <p:nvPr/>
          </p:nvSpPr>
          <p:spPr>
            <a:xfrm>
              <a:off x="8262938" y="1447963"/>
              <a:ext cx="173414" cy="173414"/>
            </a:xfrm>
            <a:prstGeom prst="roundRect">
              <a:avLst>
                <a:gd name="adj" fmla="val 50000"/>
              </a:avLst>
            </a:prstGeom>
            <a:solidFill>
              <a:srgbClr val="FFD05B"/>
            </a:solidFill>
            <a:ln>
              <a:noFill/>
            </a:ln>
          </p:spPr>
          <p:txBody>
            <a:bodyPr spcFirstLastPara="1" wrap="square" lIns="65304" tIns="32643" rIns="65304" bIns="32643" anchor="ctr" anchorCtr="0">
              <a:noAutofit/>
            </a:bodyPr>
            <a:lstStyle/>
            <a:p>
              <a:pPr algn="ctr"/>
              <a:endParaRPr sz="1286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" name="Shape 205"/>
            <p:cNvSpPr txBox="1"/>
            <p:nvPr/>
          </p:nvSpPr>
          <p:spPr>
            <a:xfrm>
              <a:off x="8202534" y="1348519"/>
              <a:ext cx="301686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65304" tIns="32643" rIns="65304" bIns="32643" anchor="t" anchorCtr="0">
              <a:noAutofit/>
            </a:bodyPr>
            <a:lstStyle/>
            <a:p>
              <a:r>
                <a:rPr lang="ru-RU" sz="1286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rPr>
                <a:t>Р</a:t>
              </a:r>
              <a:endParaRPr sz="1286"/>
            </a:p>
          </p:txBody>
        </p:sp>
        <p:cxnSp>
          <p:nvCxnSpPr>
            <p:cNvPr id="69" name="Shape 206"/>
            <p:cNvCxnSpPr/>
            <p:nvPr/>
          </p:nvCxnSpPr>
          <p:spPr>
            <a:xfrm>
              <a:off x="8299637" y="1568905"/>
              <a:ext cx="89926" cy="0"/>
            </a:xfrm>
            <a:prstGeom prst="straightConnector1">
              <a:avLst/>
            </a:prstGeom>
            <a:noFill/>
            <a:ln w="9525" cap="rnd" cmpd="sng">
              <a:solidFill>
                <a:schemeClr val="dk1"/>
              </a:solidFill>
              <a:prstDash val="solid"/>
              <a:miter lim="800000"/>
              <a:headEnd type="none" w="sm" len="sm"/>
              <a:tailEnd type="none" w="sm" len="sm"/>
            </a:ln>
          </p:spPr>
        </p:cxnSp>
      </p:grpSp>
      <p:sp>
        <p:nvSpPr>
          <p:cNvPr id="70" name="Прямоугольник 69"/>
          <p:cNvSpPr/>
          <p:nvPr/>
        </p:nvSpPr>
        <p:spPr>
          <a:xfrm>
            <a:off x="6664228" y="4129909"/>
            <a:ext cx="1210588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>
                <a:sym typeface="Calibri"/>
              </a:rPr>
              <a:t>Сроки проекта</a:t>
            </a:r>
            <a:endParaRPr lang="ru-RU" sz="1286" dirty="0"/>
          </a:p>
        </p:txBody>
      </p:sp>
      <p:cxnSp>
        <p:nvCxnSpPr>
          <p:cNvPr id="72" name="Прямая соединительная линия 71"/>
          <p:cNvCxnSpPr/>
          <p:nvPr/>
        </p:nvCxnSpPr>
        <p:spPr>
          <a:xfrm>
            <a:off x="5564560" y="4149080"/>
            <a:ext cx="396044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5570211" y="754417"/>
            <a:ext cx="0" cy="447478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" name="Picture 5" descr="C:\Users\User\Desktop\246134109_3192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332" y="1192902"/>
            <a:ext cx="363374" cy="545274"/>
          </a:xfrm>
          <a:prstGeom prst="rect">
            <a:avLst/>
          </a:prstGeom>
          <a:noFill/>
          <a:ln w="15875" cap="flat" cmpd="sng">
            <a:noFill/>
            <a:round/>
            <a:headEnd/>
            <a:tailEnd/>
          </a:ln>
          <a:effectLst>
            <a:outerShdw blurRad="127000" dist="38100" dir="2700000" sx="99000" sy="99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  <a:endParaRPr lang="ru-RU" sz="1571" dirty="0"/>
          </a:p>
        </p:txBody>
      </p:sp>
      <p:pic>
        <p:nvPicPr>
          <p:cNvPr id="73" name="Picture 5" descr="C:\Users\User\Desktop\246134109_3192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3080" y="1891842"/>
            <a:ext cx="363374" cy="545274"/>
          </a:xfrm>
          <a:prstGeom prst="rect">
            <a:avLst/>
          </a:prstGeom>
          <a:noFill/>
          <a:ln w="15875" cap="flat" cmpd="sng">
            <a:noFill/>
            <a:round/>
            <a:headEnd/>
            <a:tailEnd/>
          </a:ln>
          <a:effectLst>
            <a:outerShdw blurRad="127000" dist="38100" dir="2700000" sx="99000" sy="99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5" name="Picture 5" descr="C:\Users\User\Desktop\246134109_319279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947" y="1192902"/>
            <a:ext cx="363374" cy="545274"/>
          </a:xfrm>
          <a:prstGeom prst="rect">
            <a:avLst/>
          </a:prstGeom>
          <a:noFill/>
          <a:ln w="15875" cap="flat" cmpd="sng">
            <a:noFill/>
            <a:round/>
            <a:headEnd/>
            <a:tailEnd/>
          </a:ln>
          <a:effectLst>
            <a:outerShdw blurRad="127000" dist="38100" dir="2700000" sx="99000" sy="99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6" name="Shape 190"/>
          <p:cNvSpPr/>
          <p:nvPr/>
        </p:nvSpPr>
        <p:spPr>
          <a:xfrm>
            <a:off x="6914241" y="6332514"/>
            <a:ext cx="1670786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Грант</a:t>
            </a: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85</a:t>
            </a:r>
            <a:r>
              <a:rPr lang="en-US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000</a:t>
            </a:r>
            <a:endParaRPr sz="1143" b="1" dirty="0">
              <a:solidFill>
                <a:schemeClr val="accent5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" name="Shape 190"/>
          <p:cNvSpPr/>
          <p:nvPr/>
        </p:nvSpPr>
        <p:spPr>
          <a:xfrm>
            <a:off x="6627993" y="5493084"/>
            <a:ext cx="2263109" cy="4397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5304" tIns="32643" rIns="65304" bIns="32643" anchor="t" anchorCtr="0">
            <a:noAutofit/>
          </a:bodyPr>
          <a:lstStyle/>
          <a:p>
            <a:pPr algn="ctr"/>
            <a: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Взнос в уставной капитал</a:t>
            </a:r>
            <a: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1143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</a:b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300</a:t>
            </a:r>
            <a:r>
              <a:rPr lang="en-US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ru-RU" sz="1143" b="1" dirty="0">
                <a:solidFill>
                  <a:schemeClr val="accent5">
                    <a:lumMod val="75000"/>
                  </a:schemeClr>
                </a:solidFill>
                <a:latin typeface="Calibri"/>
                <a:ea typeface="Calibri"/>
                <a:cs typeface="Calibri"/>
                <a:sym typeface="Calibri"/>
              </a:rPr>
              <a:t>000</a:t>
            </a:r>
            <a:endParaRPr sz="1143" b="1" dirty="0">
              <a:solidFill>
                <a:schemeClr val="accent5">
                  <a:lumMod val="75000"/>
                </a:schemeClr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6" name="Прямая со стрелкой 5"/>
          <p:cNvCxnSpPr/>
          <p:nvPr/>
        </p:nvCxnSpPr>
        <p:spPr>
          <a:xfrm flipV="1">
            <a:off x="5855019" y="5671603"/>
            <a:ext cx="840114" cy="48765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>
            <a:off x="5855019" y="6159261"/>
            <a:ext cx="840114" cy="41732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Shape 275">
            <a:extLst>
              <a:ext uri="{FF2B5EF4-FFF2-40B4-BE49-F238E27FC236}">
                <a16:creationId xmlns="" xmlns:a16="http://schemas.microsoft.com/office/drawing/2014/main" id="{BF347F03-C6B5-FD41-BCF8-68E27E153DA6}"/>
              </a:ext>
            </a:extLst>
          </p:cNvPr>
          <p:cNvSpPr/>
          <p:nvPr/>
        </p:nvSpPr>
        <p:spPr>
          <a:xfrm>
            <a:off x="6143008" y="2823853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4" b="1" dirty="0">
                <a:latin typeface="Calibri"/>
                <a:ea typeface="Calibri"/>
                <a:cs typeface="Calibri"/>
                <a:sym typeface="Calibri"/>
              </a:rPr>
              <a:t>ООО Пример</a:t>
            </a:r>
            <a:endParaRPr sz="664" dirty="0">
              <a:latin typeface="Calibri"/>
              <a:ea typeface="Calibri"/>
              <a:cs typeface="Calibri"/>
            </a:endParaRPr>
          </a:p>
        </p:txBody>
      </p:sp>
      <p:sp>
        <p:nvSpPr>
          <p:cNvPr id="86" name="Shape 280">
            <a:extLst>
              <a:ext uri="{FF2B5EF4-FFF2-40B4-BE49-F238E27FC236}">
                <a16:creationId xmlns="" xmlns:a16="http://schemas.microsoft.com/office/drawing/2014/main" id="{FC4A4723-B05A-A54C-B689-B8479844D6AA}"/>
              </a:ext>
            </a:extLst>
          </p:cNvPr>
          <p:cNvSpPr/>
          <p:nvPr/>
        </p:nvSpPr>
        <p:spPr>
          <a:xfrm>
            <a:off x="6141648" y="2984389"/>
            <a:ext cx="1267269" cy="2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1" dirty="0">
                <a:latin typeface="Calibri"/>
                <a:sym typeface="Calibri"/>
              </a:rPr>
              <a:t>Примерное описание компании</a:t>
            </a:r>
            <a:endParaRPr sz="687" dirty="0"/>
          </a:p>
        </p:txBody>
      </p:sp>
      <p:sp>
        <p:nvSpPr>
          <p:cNvPr id="87" name="Shape 288">
            <a:extLst>
              <a:ext uri="{FF2B5EF4-FFF2-40B4-BE49-F238E27FC236}">
                <a16:creationId xmlns="" xmlns:a16="http://schemas.microsoft.com/office/drawing/2014/main" id="{EC0858B7-9D0D-0B41-8479-3A45DAE96D47}"/>
              </a:ext>
            </a:extLst>
          </p:cNvPr>
          <p:cNvSpPr/>
          <p:nvPr/>
        </p:nvSpPr>
        <p:spPr>
          <a:xfrm>
            <a:off x="5708750" y="2817434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1" dirty="0">
                <a:solidFill>
                  <a:schemeClr val="dk1"/>
                </a:solidFill>
                <a:latin typeface="Calibri"/>
                <a:sym typeface="Calibri"/>
              </a:rPr>
              <a:t>Лого</a:t>
            </a:r>
            <a:endParaRPr sz="561" dirty="0"/>
          </a:p>
        </p:txBody>
      </p:sp>
      <p:sp>
        <p:nvSpPr>
          <p:cNvPr id="89" name="Прямоугольник 88"/>
          <p:cNvSpPr/>
          <p:nvPr/>
        </p:nvSpPr>
        <p:spPr>
          <a:xfrm>
            <a:off x="5673382" y="3237068"/>
            <a:ext cx="3138294" cy="285878"/>
          </a:xfrm>
          <a:prstGeom prst="rect">
            <a:avLst/>
          </a:prstGeom>
        </p:spPr>
        <p:txBody>
          <a:bodyPr wrap="square" lIns="65309" tIns="32654" rIns="65309" bIns="32654">
            <a:spAutoFit/>
          </a:bodyPr>
          <a:lstStyle/>
          <a:p>
            <a:pPr>
              <a:spcBef>
                <a:spcPts val="429"/>
              </a:spcBef>
            </a:pPr>
            <a:r>
              <a:rPr lang="ru-RU" sz="1429" dirty="0"/>
              <a:t>Компании-соисполнители</a:t>
            </a:r>
            <a:endParaRPr lang="ru-RU" sz="1429" b="1" u="sng" dirty="0">
              <a:solidFill>
                <a:srgbClr val="232323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90" name="Shape 275">
            <a:extLst>
              <a:ext uri="{FF2B5EF4-FFF2-40B4-BE49-F238E27FC236}">
                <a16:creationId xmlns="" xmlns:a16="http://schemas.microsoft.com/office/drawing/2014/main" id="{BF347F03-C6B5-FD41-BCF8-68E27E153DA6}"/>
              </a:ext>
            </a:extLst>
          </p:cNvPr>
          <p:cNvSpPr/>
          <p:nvPr/>
        </p:nvSpPr>
        <p:spPr>
          <a:xfrm>
            <a:off x="6143008" y="3619920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4" b="1" dirty="0">
                <a:latin typeface="Calibri"/>
                <a:ea typeface="Calibri"/>
                <a:cs typeface="Calibri"/>
                <a:sym typeface="Calibri"/>
              </a:rPr>
              <a:t>ООО Техника</a:t>
            </a:r>
            <a:endParaRPr sz="664" dirty="0">
              <a:latin typeface="Calibri"/>
              <a:ea typeface="Calibri"/>
              <a:cs typeface="Calibri"/>
            </a:endParaRPr>
          </a:p>
        </p:txBody>
      </p:sp>
      <p:sp>
        <p:nvSpPr>
          <p:cNvPr id="91" name="Shape 280">
            <a:extLst>
              <a:ext uri="{FF2B5EF4-FFF2-40B4-BE49-F238E27FC236}">
                <a16:creationId xmlns="" xmlns:a16="http://schemas.microsoft.com/office/drawing/2014/main" id="{FC4A4723-B05A-A54C-B689-B8479844D6AA}"/>
              </a:ext>
            </a:extLst>
          </p:cNvPr>
          <p:cNvSpPr/>
          <p:nvPr/>
        </p:nvSpPr>
        <p:spPr>
          <a:xfrm>
            <a:off x="6141649" y="3773198"/>
            <a:ext cx="1058549" cy="178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1" dirty="0">
                <a:latin typeface="Calibri"/>
                <a:sym typeface="Calibri"/>
              </a:rPr>
              <a:t>Производит сборку оборудования</a:t>
            </a:r>
            <a:endParaRPr sz="687" dirty="0"/>
          </a:p>
        </p:txBody>
      </p:sp>
      <p:sp>
        <p:nvSpPr>
          <p:cNvPr id="92" name="Shape 288">
            <a:extLst>
              <a:ext uri="{FF2B5EF4-FFF2-40B4-BE49-F238E27FC236}">
                <a16:creationId xmlns="" xmlns:a16="http://schemas.microsoft.com/office/drawing/2014/main" id="{EC0858B7-9D0D-0B41-8479-3A45DAE96D47}"/>
              </a:ext>
            </a:extLst>
          </p:cNvPr>
          <p:cNvSpPr/>
          <p:nvPr/>
        </p:nvSpPr>
        <p:spPr>
          <a:xfrm>
            <a:off x="5708750" y="3640714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1" dirty="0">
                <a:solidFill>
                  <a:schemeClr val="dk1"/>
                </a:solidFill>
                <a:latin typeface="Calibri"/>
                <a:sym typeface="Calibri"/>
              </a:rPr>
              <a:t>Лого</a:t>
            </a:r>
            <a:endParaRPr sz="561" dirty="0"/>
          </a:p>
        </p:txBody>
      </p:sp>
      <p:sp>
        <p:nvSpPr>
          <p:cNvPr id="93" name="Shape 275">
            <a:extLst>
              <a:ext uri="{FF2B5EF4-FFF2-40B4-BE49-F238E27FC236}">
                <a16:creationId xmlns="" xmlns:a16="http://schemas.microsoft.com/office/drawing/2014/main" id="{BF347F03-C6B5-FD41-BCF8-68E27E153DA6}"/>
              </a:ext>
            </a:extLst>
          </p:cNvPr>
          <p:cNvSpPr/>
          <p:nvPr/>
        </p:nvSpPr>
        <p:spPr>
          <a:xfrm>
            <a:off x="7645504" y="3628778"/>
            <a:ext cx="1303399" cy="2669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714" b="1" dirty="0">
                <a:latin typeface="Calibri"/>
                <a:ea typeface="Calibri"/>
                <a:cs typeface="Calibri"/>
                <a:sym typeface="Calibri"/>
              </a:rPr>
              <a:t>ООО Роботы</a:t>
            </a:r>
            <a:r>
              <a:rPr lang="ru-RU" sz="714" b="1" dirty="0">
                <a:latin typeface="Calibri"/>
                <a:ea typeface="Calibri"/>
                <a:cs typeface="Calibri"/>
                <a:sym typeface="Calibri"/>
              </a:rPr>
              <a:t/>
            </a:r>
            <a:br>
              <a:rPr lang="ru-RU" sz="714" b="1" dirty="0">
                <a:latin typeface="Calibri"/>
                <a:ea typeface="Calibri"/>
                <a:cs typeface="Calibri"/>
                <a:sym typeface="Calibri"/>
              </a:rPr>
            </a:br>
            <a:endParaRPr sz="664" dirty="0">
              <a:latin typeface="Calibri"/>
              <a:ea typeface="Calibri"/>
              <a:cs typeface="Calibri"/>
            </a:endParaRPr>
          </a:p>
        </p:txBody>
      </p:sp>
      <p:sp>
        <p:nvSpPr>
          <p:cNvPr id="94" name="Shape 280">
            <a:extLst>
              <a:ext uri="{FF2B5EF4-FFF2-40B4-BE49-F238E27FC236}">
                <a16:creationId xmlns="" xmlns:a16="http://schemas.microsoft.com/office/drawing/2014/main" id="{FC4A4723-B05A-A54C-B689-B8479844D6AA}"/>
              </a:ext>
            </a:extLst>
          </p:cNvPr>
          <p:cNvSpPr/>
          <p:nvPr/>
        </p:nvSpPr>
        <p:spPr>
          <a:xfrm>
            <a:off x="7644145" y="3796571"/>
            <a:ext cx="1267269" cy="219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6646" tIns="23316" rIns="46646" bIns="23316" anchor="t" anchorCtr="0">
            <a:noAutofit/>
          </a:bodyPr>
          <a:lstStyle/>
          <a:p>
            <a:r>
              <a:rPr lang="ru-RU" sz="561" dirty="0">
                <a:latin typeface="Calibri"/>
                <a:sym typeface="Calibri"/>
              </a:rPr>
              <a:t>Разрабатывает алгоритмы </a:t>
            </a:r>
            <a:r>
              <a:rPr lang="en-US" sz="561" dirty="0">
                <a:latin typeface="Calibri"/>
                <a:sym typeface="Calibri"/>
              </a:rPr>
              <a:t>ML </a:t>
            </a:r>
            <a:endParaRPr sz="687" dirty="0"/>
          </a:p>
        </p:txBody>
      </p:sp>
      <p:sp>
        <p:nvSpPr>
          <p:cNvPr id="95" name="Shape 288">
            <a:extLst>
              <a:ext uri="{FF2B5EF4-FFF2-40B4-BE49-F238E27FC236}">
                <a16:creationId xmlns="" xmlns:a16="http://schemas.microsoft.com/office/drawing/2014/main" id="{EC0858B7-9D0D-0B41-8479-3A45DAE96D47}"/>
              </a:ext>
            </a:extLst>
          </p:cNvPr>
          <p:cNvSpPr/>
          <p:nvPr/>
        </p:nvSpPr>
        <p:spPr>
          <a:xfrm>
            <a:off x="7211247" y="3622358"/>
            <a:ext cx="367347" cy="367347"/>
          </a:xfrm>
          <a:prstGeom prst="ellipse">
            <a:avLst/>
          </a:prstGeom>
          <a:solidFill>
            <a:schemeClr val="lt1"/>
          </a:solidFill>
          <a:ln w="12700" cap="flat" cmpd="sng">
            <a:solidFill>
              <a:schemeClr val="dk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46646" tIns="23316" rIns="46646" bIns="23316" anchor="ctr" anchorCtr="0">
            <a:noAutofit/>
          </a:bodyPr>
          <a:lstStyle/>
          <a:p>
            <a:pPr algn="ctr"/>
            <a:r>
              <a:rPr lang="ru-RU" sz="561" dirty="0">
                <a:solidFill>
                  <a:schemeClr val="dk1"/>
                </a:solidFill>
                <a:latin typeface="Calibri"/>
                <a:sym typeface="Calibri"/>
              </a:rPr>
              <a:t>Лого</a:t>
            </a:r>
            <a:endParaRPr sz="561" dirty="0"/>
          </a:p>
        </p:txBody>
      </p:sp>
    </p:spTree>
    <p:extLst>
      <p:ext uri="{BB962C8B-B14F-4D97-AF65-F5344CB8AC3E}">
        <p14:creationId xmlns:p14="http://schemas.microsoft.com/office/powerpoint/2010/main" val="2774514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88423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Опыт команды проекта</a:t>
            </a:r>
            <a:endParaRPr lang="ru-RU" sz="1286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  <a:endParaRPr lang="ru-RU" sz="1571" dirty="0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90395" y="1063023"/>
            <a:ext cx="8485576" cy="1739007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Научно-исследовательский опыт</a:t>
            </a:r>
          </a:p>
          <a:p>
            <a:pPr marL="244933" indent="-244933">
              <a:buFontTx/>
              <a:buChar char="-"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Участие в </a:t>
            </a:r>
            <a:r>
              <a:rPr lang="ru-RU" sz="1286" dirty="0" err="1">
                <a:solidFill>
                  <a:schemeClr val="accent1">
                    <a:lumMod val="50000"/>
                  </a:schemeClr>
                </a:solidFill>
              </a:rPr>
              <a:t>НИОКРах</a:t>
            </a:r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  <a:p>
            <a:pPr marL="244933" indent="-244933">
              <a:buFontTx/>
              <a:buChar char="-"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Полученные членами команды патенты, награды и т.п.</a:t>
            </a:r>
          </a:p>
          <a:p>
            <a:pPr marL="244933" indent="-244933">
              <a:buFontTx/>
              <a:buChar char="-"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Разработанные технологические решения</a:t>
            </a:r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83954" y="3007767"/>
            <a:ext cx="8485576" cy="1636139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Опыт построение бизнеса </a:t>
            </a:r>
          </a:p>
          <a:p>
            <a:pPr marL="244933" indent="-244933">
              <a:buFontTx/>
              <a:buChar char="-"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О</a:t>
            </a: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пыт вывода на рынок новых продуктов</a:t>
            </a:r>
          </a:p>
          <a:p>
            <a:pPr marL="244933" indent="-244933">
              <a:buFontTx/>
              <a:buChar char="-"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Опыт построения собственного бизнеса и результат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85036" y="4869160"/>
            <a:ext cx="8485576" cy="1636139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5314" tIns="32657" rIns="65314" bIns="3265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Опыт привлечения инвестиций, взаимодействия с институтами развития, фондами </a:t>
            </a:r>
          </a:p>
          <a:p>
            <a:pPr marL="244933" indent="-244933">
              <a:buFontTx/>
              <a:buChar char="-"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Опыт привлечения инвестиций и их источники</a:t>
            </a:r>
          </a:p>
          <a:p>
            <a:pPr marL="244933" indent="-244933">
              <a:buFontTx/>
              <a:buChar char="-"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Опыт взаимодействия с институтами развития</a:t>
            </a:r>
          </a:p>
          <a:p>
            <a:pPr marL="244933" indent="-244933">
              <a:buFontTx/>
              <a:buChar char="-"/>
            </a:pP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Наличие привлеченного в проект государственного финансирования, источник и размер такого финанс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916419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10893" y="207927"/>
            <a:ext cx="2564676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Описание продукта и технологии</a:t>
            </a:r>
            <a:endParaRPr lang="ru-RU" sz="1286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  <a:endParaRPr lang="ru-RU" sz="1571" dirty="0"/>
          </a:p>
        </p:txBody>
      </p:sp>
      <p:sp>
        <p:nvSpPr>
          <p:cNvPr id="3" name="TextBox 2"/>
          <p:cNvSpPr txBox="1"/>
          <p:nvPr/>
        </p:nvSpPr>
        <p:spPr>
          <a:xfrm>
            <a:off x="1530796" y="825139"/>
            <a:ext cx="1555682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Описание продукта</a:t>
            </a:r>
            <a:endParaRPr lang="ru-RU" sz="1286" dirty="0"/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901566" y="754417"/>
            <a:ext cx="0" cy="6103583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159882" y="826672"/>
            <a:ext cx="156857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dirty="0"/>
              <a:t>Технология проекта</a:t>
            </a:r>
            <a:endParaRPr lang="ru-RU" sz="1286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073509" y="1165892"/>
            <a:ext cx="4225230" cy="3497531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Описание технологий, применяемых в проекте</a:t>
            </a:r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073509" y="4772280"/>
            <a:ext cx="4225230" cy="1897080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286" dirty="0">
                <a:solidFill>
                  <a:schemeClr val="accent1">
                    <a:lumMod val="50000"/>
                  </a:schemeClr>
                </a:solidFill>
              </a:rPr>
              <a:t>TRL</a:t>
            </a:r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 1-9</a:t>
            </a:r>
            <a:endParaRPr lang="en-US" sz="1286" dirty="0">
              <a:solidFill>
                <a:schemeClr val="accent1">
                  <a:lumMod val="50000"/>
                </a:schemeClr>
              </a:solidFill>
            </a:endParaRPr>
          </a:p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Описание уровня технологической готовности</a:t>
            </a:r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011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26188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Рынок проекта</a:t>
            </a:r>
            <a:endParaRPr lang="ru-RU" sz="1286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  <a:endParaRPr lang="ru-RU" sz="1571" dirty="0"/>
          </a:p>
        </p:txBody>
      </p:sp>
      <p:sp>
        <p:nvSpPr>
          <p:cNvPr id="18" name="TextBox 17"/>
          <p:cNvSpPr txBox="1"/>
          <p:nvPr/>
        </p:nvSpPr>
        <p:spPr>
          <a:xfrm>
            <a:off x="915386" y="1301318"/>
            <a:ext cx="4397679" cy="18732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Целевые рынки</a:t>
            </a:r>
          </a:p>
          <a:p>
            <a:endParaRPr lang="ru-RU" sz="1286" b="1" dirty="0"/>
          </a:p>
          <a:p>
            <a:pPr marL="244933" indent="-244933">
              <a:buFontTx/>
              <a:buChar char="-"/>
            </a:pPr>
            <a:r>
              <a:rPr lang="ru-RU" sz="1286" dirty="0"/>
              <a:t>Описание рынков</a:t>
            </a:r>
          </a:p>
          <a:p>
            <a:pPr marL="244933" indent="-244933">
              <a:buFontTx/>
              <a:buChar char="-"/>
            </a:pPr>
            <a:endParaRPr lang="ru-RU" sz="1286" dirty="0"/>
          </a:p>
          <a:p>
            <a:pPr marL="244933" indent="-244933">
              <a:buFontTx/>
              <a:buChar char="-"/>
            </a:pPr>
            <a:r>
              <a:rPr lang="ru-RU" sz="1286" dirty="0"/>
              <a:t>Динамика рынков</a:t>
            </a:r>
          </a:p>
          <a:p>
            <a:pPr marL="244933" indent="-244933">
              <a:buFontTx/>
              <a:buChar char="-"/>
            </a:pPr>
            <a:endParaRPr lang="ru-RU" sz="1286" dirty="0"/>
          </a:p>
          <a:p>
            <a:pPr marL="244933" indent="-244933">
              <a:buFontTx/>
              <a:buChar char="-"/>
            </a:pPr>
            <a:r>
              <a:rPr lang="ru-RU" sz="1286" dirty="0"/>
              <a:t>Целевая доля рынков, которую планирует занять проект</a:t>
            </a:r>
          </a:p>
          <a:p>
            <a:pPr marL="244933" indent="-244933">
              <a:buFontTx/>
              <a:buChar char="-"/>
            </a:pPr>
            <a:endParaRPr lang="ru-RU" sz="1286" dirty="0"/>
          </a:p>
          <a:p>
            <a:pPr marL="244933" indent="-244933">
              <a:buFontTx/>
              <a:buChar char="-"/>
            </a:pPr>
            <a:r>
              <a:rPr lang="ru-RU" sz="1286" dirty="0"/>
              <a:t>Барьеры для выхода на целевые рынки</a:t>
            </a:r>
          </a:p>
        </p:txBody>
      </p:sp>
    </p:spTree>
    <p:extLst>
      <p:ext uri="{BB962C8B-B14F-4D97-AF65-F5344CB8AC3E}">
        <p14:creationId xmlns:p14="http://schemas.microsoft.com/office/powerpoint/2010/main" val="3973973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0559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Конкуренты</a:t>
            </a:r>
            <a:endParaRPr lang="ru-RU" sz="1286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  <a:endParaRPr lang="ru-RU" sz="1571" dirty="0"/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/>
          </p:nvPr>
        </p:nvGraphicFramePr>
        <p:xfrm>
          <a:off x="735389" y="1114458"/>
          <a:ext cx="4850676" cy="5297730"/>
        </p:xfrm>
        <a:graphic>
          <a:graphicData uri="http://schemas.openxmlformats.org/drawingml/2006/table">
            <a:tbl>
              <a:tblPr firstRow="1" bandRow="1">
                <a:effectLst/>
                <a:tableStyleId>{35758FB7-9AC5-4552-8A53-C91805E547FA}</a:tableStyleId>
              </a:tblPr>
              <a:tblGrid>
                <a:gridCol w="10723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5183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4780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9732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8132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953463"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мпании/ продукта проекта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800" dirty="0" smtClean="0">
                          <a:solidFill>
                            <a:srgbClr val="000000"/>
                          </a:solidFill>
                          <a:latin typeface="+mj-lt"/>
                        </a:rPr>
                        <a:t>Название конкурентов/аналогов</a:t>
                      </a:r>
                      <a:endParaRPr lang="ru-RU" sz="800" dirty="0">
                        <a:solidFill>
                          <a:srgbClr val="000000"/>
                        </a:solidFill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843037">
                <a:tc>
                  <a:txBody>
                    <a:bodyPr/>
                    <a:lstStyle/>
                    <a:p>
                      <a:pPr algn="l"/>
                      <a:r>
                        <a:rPr lang="ru-RU" sz="900" b="1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72119">
                <a:tc>
                  <a:txBody>
                    <a:bodyPr/>
                    <a:lstStyle/>
                    <a:p>
                      <a:pPr algn="l"/>
                      <a:r>
                        <a:rPr lang="ru-RU" sz="900" b="1" dirty="0" smtClean="0">
                          <a:latin typeface="+mj-lt"/>
                        </a:rPr>
                        <a:t>Ключевые характеристики компании/</a:t>
                      </a:r>
                      <a:r>
                        <a:rPr lang="ru-RU" sz="900" b="1" baseline="0" dirty="0" smtClean="0">
                          <a:latin typeface="+mj-lt"/>
                        </a:rPr>
                        <a:t> продукта</a:t>
                      </a:r>
                      <a:endParaRPr lang="ru-RU" sz="900" b="1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ru-RU" sz="900" dirty="0">
                        <a:latin typeface="+mj-lt"/>
                      </a:endParaRPr>
                    </a:p>
                  </a:txBody>
                  <a:tcPr marL="60532" marR="60532" marT="29614" marB="29614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6290291" y="1525932"/>
            <a:ext cx="2774353" cy="473195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09" tIns="32654" rIns="65309" bIns="32654" anchor="ctr">
            <a:noAutofit/>
          </a:bodyPr>
          <a:lstStyle/>
          <a:p>
            <a:pPr algn="ctr">
              <a:spcAft>
                <a:spcPts val="857"/>
              </a:spcAft>
            </a:pP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Конкурентные преимущества продукта </a:t>
            </a:r>
          </a:p>
          <a:p>
            <a:pPr marL="129259" indent="-129259">
              <a:spcAft>
                <a:spcPts val="429"/>
              </a:spcAft>
              <a:buFont typeface="Arial" pitchFamily="34" charset="0"/>
              <a:buChar char="•"/>
            </a:pPr>
            <a:r>
              <a:rPr lang="ru-RU" sz="857" dirty="0">
                <a:solidFill>
                  <a:schemeClr val="tx1">
                    <a:lumMod val="75000"/>
                    <a:lumOff val="25000"/>
                  </a:schemeClr>
                </a:solidFill>
                <a:latin typeface="Calibri Light"/>
                <a:ea typeface="Helvetica Neue" charset="0"/>
                <a:cs typeface="Helvetica Neue" charset="0"/>
              </a:rPr>
              <a:t>….</a:t>
            </a:r>
          </a:p>
        </p:txBody>
      </p:sp>
    </p:spTree>
    <p:extLst>
      <p:ext uri="{BB962C8B-B14F-4D97-AF65-F5344CB8AC3E}">
        <p14:creationId xmlns:p14="http://schemas.microsoft.com/office/powerpoint/2010/main" val="1159553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943224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Финансовые показатели</a:t>
            </a:r>
            <a:endParaRPr lang="ru-RU" sz="1286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  <a:endParaRPr lang="ru-RU" sz="1571" dirty="0"/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/>
          </p:nvPr>
        </p:nvGraphicFramePr>
        <p:xfrm>
          <a:off x="683954" y="5648167"/>
          <a:ext cx="8492018" cy="661153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109845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796408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917153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238062">
                <a:tc rowSpan="2">
                  <a:txBody>
                    <a:bodyPr/>
                    <a:lstStyle/>
                    <a:p>
                      <a:pPr marL="9525" indent="-952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Целевые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 п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казатели проекта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Единицы измерения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marL="7938" indent="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лановое значение 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о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периодам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45720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14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246B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7938" indent="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ru-RU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9836"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marL="457200" indent="-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Arial" panose="020B0604020202020204" pitchFamily="34" charset="0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3246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</a:t>
                      </a:r>
                      <a:r>
                        <a:rPr lang="ru-RU" sz="900" b="1" baseline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г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__</a:t>
                      </a: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Calibri"/>
                          <a:cs typeface="Arial" panose="020B0604020202020204" pitchFamily="34" charset="0"/>
                        </a:rPr>
                        <a:t>г.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20</a:t>
                      </a:r>
                      <a:r>
                        <a:rPr lang="ru-RU" sz="900" b="1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__г</a:t>
                      </a:r>
                      <a:r>
                        <a:rPr lang="ru-RU" sz="900" b="1" dirty="0">
                          <a:solidFill>
                            <a:schemeClr val="tx1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  <a:endParaRPr lang="ru-RU" sz="9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Calibri"/>
                        <a:cs typeface="Arial" panose="020B0604020202020204" pitchFamily="34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63255">
                <a:tc>
                  <a:txBody>
                    <a:bodyPr/>
                    <a:lstStyle/>
                    <a:p>
                      <a:pPr marL="7938" indent="-7938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b="1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Объем выручки</a:t>
                      </a:r>
                      <a:endParaRPr lang="ru-RU" sz="900" b="1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marR="0" indent="-45720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млн. долл.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0</a:t>
                      </a: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57200" indent="-457200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  <a:latin typeface="+mj-lt"/>
                          <a:ea typeface="Helvetica Neue" charset="0"/>
                          <a:cs typeface="Helvetica Neue" charset="0"/>
                        </a:rPr>
                        <a:t>20</a:t>
                      </a:r>
                      <a:endParaRPr lang="ru-RU" sz="900" dirty="0">
                        <a:effectLst/>
                        <a:latin typeface="+mj-lt"/>
                        <a:ea typeface="Helvetica Neue" charset="0"/>
                        <a:cs typeface="Helvetica Neue" charset="0"/>
                      </a:endParaRPr>
                    </a:p>
                  </a:txBody>
                  <a:tcPr marL="45399" marR="45399" marT="0" marB="0"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sp>
        <p:nvSpPr>
          <p:cNvPr id="19" name="Rounded Rectangle 2099"/>
          <p:cNvSpPr/>
          <p:nvPr/>
        </p:nvSpPr>
        <p:spPr>
          <a:xfrm>
            <a:off x="7324337" y="1767196"/>
            <a:ext cx="1851634" cy="1641493"/>
          </a:xfrm>
          <a:prstGeom prst="roundRect">
            <a:avLst>
              <a:gd name="adj" fmla="val 3557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7"/>
              </a:spcAft>
            </a:pP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Стратегия выхода </a:t>
            </a:r>
            <a:b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</a:b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из проекта для инвесторов: </a:t>
            </a:r>
          </a:p>
          <a:p>
            <a:pPr>
              <a:spcAft>
                <a:spcPts val="429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Заполняется только для проектов с желаемой формой финансирования </a:t>
            </a: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«взнос </a:t>
            </a: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в уставной капитал» рекомендуется указать стратегии выхода из проекта для инвесторов</a:t>
            </a:r>
          </a:p>
        </p:txBody>
      </p:sp>
      <p:sp>
        <p:nvSpPr>
          <p:cNvPr id="20" name="Rounded Rectangle 2099"/>
          <p:cNvSpPr/>
          <p:nvPr/>
        </p:nvSpPr>
        <p:spPr>
          <a:xfrm>
            <a:off x="683954" y="4614528"/>
            <a:ext cx="8492016" cy="525964"/>
          </a:xfrm>
          <a:prstGeom prst="roundRect">
            <a:avLst>
              <a:gd name="adj" fmla="val 6236"/>
            </a:avLst>
          </a:prstGeom>
          <a:solidFill>
            <a:schemeClr val="bg1"/>
          </a:solidFill>
          <a:ln w="6350">
            <a:solidFill>
              <a:schemeClr val="bg1">
                <a:lumMod val="65000"/>
              </a:schemeClr>
            </a:solidFill>
          </a:ln>
        </p:spPr>
        <p:txBody>
          <a:bodyPr wrap="square" lIns="65311" tIns="32655" rIns="65311" bIns="32655" anchor="ctr">
            <a:spAutoFit/>
          </a:bodyPr>
          <a:lstStyle/>
          <a:p>
            <a:pPr algn="ctr">
              <a:spcAft>
                <a:spcPts val="857"/>
              </a:spcAft>
            </a:pP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Бюджетные деньги, ранее </a:t>
            </a:r>
            <a:r>
              <a:rPr lang="ru-RU" sz="1143" dirty="0" err="1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привлекавшиеся</a:t>
            </a:r>
            <a:r>
              <a:rPr lang="ru-RU" sz="1143" dirty="0">
                <a:solidFill>
                  <a:schemeClr val="tx2"/>
                </a:solidFill>
                <a:latin typeface="Calibri Light"/>
                <a:ea typeface="Helvetica Neue" charset="0"/>
                <a:cs typeface="Helvetica Neue" charset="0"/>
              </a:rPr>
              <a:t> для финансирования проекта:</a:t>
            </a:r>
            <a:endParaRPr lang="ru-RU" sz="1143" dirty="0">
              <a:solidFill>
                <a:schemeClr val="tx2"/>
              </a:solidFill>
              <a:latin typeface="Calibri Light"/>
              <a:ea typeface="Helvetica Neue" charset="0"/>
              <a:cs typeface="Helvetica Neue" charset="0"/>
            </a:endParaRPr>
          </a:p>
          <a:p>
            <a:pPr>
              <a:spcAft>
                <a:spcPts val="429"/>
              </a:spcAft>
            </a:pPr>
            <a:r>
              <a:rPr lang="ru-RU" sz="1000" spc="71" dirty="0">
                <a:solidFill>
                  <a:schemeClr val="accent1">
                    <a:lumMod val="75000"/>
                  </a:schemeClr>
                </a:solidFill>
              </a:rPr>
              <a:t>Перечисляются источники получения, размеры и сроки.</a:t>
            </a:r>
            <a:endParaRPr lang="ru-RU" sz="1000" spc="7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750097" y="1185179"/>
            <a:ext cx="6405279" cy="290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86" dirty="0">
                <a:solidFill>
                  <a:schemeClr val="accent1">
                    <a:lumMod val="50000"/>
                  </a:schemeClr>
                </a:solidFill>
              </a:rPr>
              <a:t>Модель коммерциализации проекта:</a:t>
            </a:r>
            <a:endParaRPr lang="ru-RU" sz="1286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90395" y="1124216"/>
            <a:ext cx="6480720" cy="3127733"/>
          </a:xfrm>
          <a:prstGeom prst="roundRect">
            <a:avLst>
              <a:gd name="adj" fmla="val 2129"/>
            </a:avLst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86"/>
          </a:p>
        </p:txBody>
      </p:sp>
    </p:spTree>
    <p:extLst>
      <p:ext uri="{BB962C8B-B14F-4D97-AF65-F5344CB8AC3E}">
        <p14:creationId xmlns:p14="http://schemas.microsoft.com/office/powerpoint/2010/main" val="11292499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32520" y="207927"/>
            <a:ext cx="1487395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86" b="1" dirty="0"/>
              <a:t>План по расходам</a:t>
            </a:r>
            <a:endParaRPr lang="ru-RU" sz="1286" b="1" dirty="0"/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381000" y="754417"/>
            <a:ext cx="9144000" cy="0"/>
          </a:xfrm>
          <a:prstGeom prst="line">
            <a:avLst/>
          </a:prstGeom>
          <a:ln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361820" y="-17097"/>
            <a:ext cx="1913281" cy="3340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571" dirty="0"/>
              <a:t>НАЗВАНИЕ ПРОЕКТА</a:t>
            </a:r>
            <a:endParaRPr lang="ru-RU" sz="1571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581086" y="857287"/>
          <a:ext cx="8692393" cy="5756516"/>
        </p:xfrm>
        <a:graphic>
          <a:graphicData uri="http://schemas.openxmlformats.org/drawingml/2006/table">
            <a:tbl>
              <a:tblPr firstRow="1" firstCol="1" bandRow="1" bandCol="1">
                <a:tableStyleId>{69012ECD-51FC-41F1-AA8D-1B2483CD663E}</a:tableStyleId>
              </a:tblPr>
              <a:tblGrid>
                <a:gridCol w="617211"/>
                <a:gridCol w="3857571"/>
                <a:gridCol w="2160240"/>
                <a:gridCol w="2057371"/>
              </a:tblGrid>
              <a:tr h="160717">
                <a:tc row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№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rowSpan="2">
                  <a:txBody>
                    <a:bodyPr/>
                    <a:lstStyle/>
                    <a:p>
                      <a:pPr indent="450215" algn="l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Вид расходов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gridSpan="2"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Объем финансового </a:t>
                      </a:r>
                      <a:r>
                        <a:rPr lang="ru-RU" sz="900" dirty="0" smtClean="0">
                          <a:effectLst/>
                        </a:rPr>
                        <a:t>обеспечения</a:t>
                      </a:r>
                      <a:r>
                        <a:rPr lang="ru-RU" sz="900" baseline="0" dirty="0" smtClean="0">
                          <a:effectLst/>
                        </a:rPr>
                        <a:t> </a:t>
                      </a:r>
                      <a:r>
                        <a:rPr lang="ru-RU" sz="900" dirty="0" smtClean="0">
                          <a:effectLst/>
                        </a:rPr>
                        <a:t>реализации </a:t>
                      </a:r>
                      <a:r>
                        <a:rPr lang="ru-RU" sz="900" dirty="0">
                          <a:effectLst/>
                        </a:rPr>
                        <a:t>проекта (рублей)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11606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14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за </a:t>
                      </a:r>
                      <a:r>
                        <a:rPr lang="ru-RU" sz="900" dirty="0">
                          <a:effectLst/>
                        </a:rPr>
                        <a:t>счет </a:t>
                      </a:r>
                      <a:r>
                        <a:rPr lang="ru-RU" sz="900" dirty="0" smtClean="0">
                          <a:effectLst/>
                        </a:rPr>
                        <a:t>средств </a:t>
                      </a:r>
                      <a:r>
                        <a:rPr lang="ru-RU" sz="900" dirty="0">
                          <a:effectLst/>
                        </a:rPr>
                        <a:t>федерального бюджета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за </a:t>
                      </a:r>
                      <a:r>
                        <a:rPr lang="ru-RU" sz="900" dirty="0">
                          <a:effectLst/>
                        </a:rPr>
                        <a:t>счет внебюджетных источников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289362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оплату труда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2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материально-технические расходы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3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технологические работы и услуги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4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заказ исследований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16527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5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патентование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6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расходы на сертификацию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7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атенты и ноу-хау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8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лицензионные платежи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04645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9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граммное обеспечение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>
                          <a:effectLst/>
                        </a:rPr>
                        <a:t> </a:t>
                      </a:r>
                      <a:endParaRPr lang="ru-RU" sz="900" kern="120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1256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0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нсультационные услуги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4272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1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апитальное строительство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25920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2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иобретение недвижимого имущества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808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3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аренда имущества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39274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4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организационные расходы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5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командировочные расходы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08606"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6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прочие расходы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 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190403">
                <a:tc gridSpan="2">
                  <a:txBody>
                    <a:bodyPr/>
                    <a:lstStyle/>
                    <a:p>
                      <a:pPr indent="450215"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Всего</a:t>
                      </a:r>
                      <a:endParaRPr lang="ru-RU" sz="90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kern="1200" dirty="0">
                          <a:effectLst/>
                        </a:rPr>
                        <a:t> 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indent="450215" algn="ctr">
                        <a:lnSpc>
                          <a:spcPts val="18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043995" y="1063023"/>
            <a:ext cx="18473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sz="1286" dirty="0"/>
          </a:p>
        </p:txBody>
      </p:sp>
    </p:spTree>
    <p:extLst>
      <p:ext uri="{BB962C8B-B14F-4D97-AF65-F5344CB8AC3E}">
        <p14:creationId xmlns:p14="http://schemas.microsoft.com/office/powerpoint/2010/main" val="525006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591" y="1589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2591" y="1589"/>
                        <a:ext cx="158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Заголовок 2"/>
          <p:cNvSpPr>
            <a:spLocks noGrp="1"/>
          </p:cNvSpPr>
          <p:nvPr>
            <p:ph type="title"/>
          </p:nvPr>
        </p:nvSpPr>
        <p:spPr>
          <a:xfrm>
            <a:off x="776538" y="134939"/>
            <a:ext cx="7916612" cy="647700"/>
          </a:xfrm>
        </p:spPr>
        <p:txBody>
          <a:bodyPr anchor="ctr">
            <a:normAutofit/>
          </a:bodyPr>
          <a:lstStyle/>
          <a:p>
            <a:pPr>
              <a:defRPr/>
            </a:pPr>
            <a:r>
              <a:rPr lang="ru-RU" dirty="0" smtClean="0">
                <a:latin typeface="+mn-lt"/>
              </a:rPr>
              <a:t>РЕЗЮМЕ проекта</a:t>
            </a:r>
            <a:r>
              <a:rPr lang="ru-RU" dirty="0">
                <a:latin typeface="+mn-lt"/>
              </a:rPr>
              <a:t/>
            </a:r>
            <a:br>
              <a:rPr lang="ru-RU" dirty="0">
                <a:latin typeface="+mn-lt"/>
              </a:rPr>
            </a:br>
            <a:endParaRPr lang="ru-RU" sz="1429" dirty="0">
              <a:latin typeface="+mn-lt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/>
          </p:nvPr>
        </p:nvGraphicFramePr>
        <p:xfrm>
          <a:off x="425452" y="881265"/>
          <a:ext cx="2156460" cy="12608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50037"/>
                <a:gridCol w="1406423"/>
              </a:tblGrid>
              <a:tr h="193155">
                <a:tc gridSpan="2"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УЧАСТНИК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Руководитель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роекта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ФИО и организация</a:t>
                      </a:r>
                      <a:endParaRPr lang="ru-RU" sz="7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679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Получатель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38429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Соисполнитель 1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3390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Соисполнитель 2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21600" marB="252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7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Организац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21600" marB="252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6" name="Таблица 65"/>
          <p:cNvGraphicFramePr>
            <a:graphicFrameLocks noGrp="1"/>
          </p:cNvGraphicFramePr>
          <p:nvPr>
            <p:extLst/>
          </p:nvPr>
        </p:nvGraphicFramePr>
        <p:xfrm>
          <a:off x="2682240" y="877568"/>
          <a:ext cx="2207456" cy="132256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15832"/>
                <a:gridCol w="1091624"/>
              </a:tblGrid>
              <a:tr h="189232">
                <a:tc gridSpan="2"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БЮДЖЕТ ( тыс.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руб. с учетом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налогов</a:t>
                      </a:r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800" dirty="0"/>
                    </a:p>
                  </a:txBody>
                  <a:tcPr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Форма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Затраты всего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702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Бюджетная поддержка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8251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Внебюджетная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поддержка/источники</a:t>
                      </a: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12714">
                <a:tc>
                  <a:txBody>
                    <a:bodyPr/>
                    <a:lstStyle/>
                    <a:p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% бюджетной поддержки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0" marR="36000" marT="32400" marB="324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2400" marB="324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3" name="Таблица 72"/>
          <p:cNvGraphicFramePr>
            <a:graphicFrameLocks noGrp="1"/>
          </p:cNvGraphicFramePr>
          <p:nvPr>
            <p:extLst/>
          </p:nvPr>
        </p:nvGraphicFramePr>
        <p:xfrm>
          <a:off x="377192" y="2508246"/>
          <a:ext cx="4480560" cy="27038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0560"/>
              </a:tblGrid>
              <a:tr h="2703833">
                <a:tc>
                  <a:txBody>
                    <a:bodyPr/>
                    <a:lstStyle/>
                    <a:p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9" name="Таблица 98"/>
          <p:cNvGraphicFramePr>
            <a:graphicFrameLocks noGrp="1"/>
          </p:cNvGraphicFramePr>
          <p:nvPr>
            <p:extLst/>
          </p:nvPr>
        </p:nvGraphicFramePr>
        <p:xfrm>
          <a:off x="381002" y="2364735"/>
          <a:ext cx="4473574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3574"/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Ь ПРОЕКТА И ОПИСАНИЕ ПРОДУКТА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2" name="Таблица 101"/>
          <p:cNvGraphicFramePr>
            <a:graphicFrameLocks noGrp="1"/>
          </p:cNvGraphicFramePr>
          <p:nvPr>
            <p:extLst/>
          </p:nvPr>
        </p:nvGraphicFramePr>
        <p:xfrm>
          <a:off x="5038054" y="877567"/>
          <a:ext cx="4486946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6946"/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ПЛАН РАБОТ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A6A6A6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3" name="Таблица 102"/>
          <p:cNvGraphicFramePr>
            <a:graphicFrameLocks noGrp="1"/>
          </p:cNvGraphicFramePr>
          <p:nvPr>
            <p:extLst/>
          </p:nvPr>
        </p:nvGraphicFramePr>
        <p:xfrm>
          <a:off x="5038054" y="1045922"/>
          <a:ext cx="4453563" cy="4211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1124"/>
                <a:gridCol w="552781"/>
                <a:gridCol w="552781"/>
                <a:gridCol w="552781"/>
                <a:gridCol w="584096"/>
              </a:tblGrid>
              <a:tr h="309154"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Этап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ы / Основные мероприятия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Ответствен-</a:t>
                      </a:r>
                      <a:r>
                        <a:rPr lang="ru-RU" sz="7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ный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Срок реализации</a:t>
                      </a:r>
                    </a:p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лан</a:t>
                      </a:r>
                    </a:p>
                    <a:p>
                      <a:pPr algn="ctr"/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 (тыс. руб. с учетом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налогов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423112">
                <a:tc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/>
                      <a:endParaRPr lang="ru-RU" sz="8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3443" marR="53443" marT="50419" marB="50419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Бюджетная 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b="1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Внебюджет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r>
                        <a:rPr lang="ru-RU" sz="700" b="1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ru-RU" sz="700" b="1" dirty="0" smtClean="0">
                          <a:solidFill>
                            <a:schemeClr val="tx1"/>
                          </a:solidFill>
                          <a:latin typeface="+mn-lt"/>
                        </a:rPr>
                        <a:t>поддержка</a:t>
                      </a:r>
                      <a:endParaRPr lang="ru-RU" sz="7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45720" marR="4572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141514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</a:t>
                      </a:r>
                      <a:r>
                        <a:rPr lang="ru-RU" sz="900" b="1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en-US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2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99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3616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3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 gridSpan="5"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Этап 4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1514">
                <a:tc>
                  <a:txBody>
                    <a:bodyPr/>
                    <a:lstStyle/>
                    <a:p>
                      <a:pPr algn="l" fontAlgn="t"/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45678">
                <a:tc gridSpan="5">
                  <a:txBody>
                    <a:bodyPr/>
                    <a:lstStyle/>
                    <a:p>
                      <a:pPr algn="l" fontAlgn="t"/>
                      <a:r>
                        <a:rPr lang="ru-RU" sz="9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Завершение</a:t>
                      </a:r>
                      <a:endParaRPr lang="ru-RU" sz="900" b="1" i="0" u="none" strike="noStrike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CFDE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CC"/>
                    </a:solidFill>
                  </a:tcPr>
                </a:tc>
              </a:tr>
              <a:tr h="217714">
                <a:tc>
                  <a:txBody>
                    <a:bodyPr/>
                    <a:lstStyle/>
                    <a:p>
                      <a:pPr algn="l" fontAlgn="t"/>
                      <a:r>
                        <a:rPr lang="ru-RU" sz="7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Итоговый</a:t>
                      </a:r>
                      <a:r>
                        <a:rPr lang="ru-RU" sz="7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отчет о результатах проекта утвержден на МРГ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36000" marR="0" marT="0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sym typeface="Wingdings" pitchFamily="2" charset="2"/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4" name="Таблица 103"/>
          <p:cNvGraphicFramePr>
            <a:graphicFrameLocks noGrp="1"/>
          </p:cNvGraphicFramePr>
          <p:nvPr>
            <p:extLst/>
          </p:nvPr>
        </p:nvGraphicFramePr>
        <p:xfrm>
          <a:off x="381003" y="5315354"/>
          <a:ext cx="4483099" cy="14151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83099"/>
              </a:tblGrid>
              <a:tr h="141514">
                <a:tc>
                  <a:txBody>
                    <a:bodyPr/>
                    <a:lstStyle/>
                    <a:p>
                      <a:r>
                        <a:rPr lang="ru-RU" sz="900" dirty="0" smtClean="0">
                          <a:solidFill>
                            <a:schemeClr val="bg1"/>
                          </a:solidFill>
                        </a:rPr>
                        <a:t>ЦЕЛЕВЫЕ</a:t>
                      </a:r>
                      <a:r>
                        <a:rPr lang="ru-RU" sz="900" baseline="0" dirty="0" smtClean="0">
                          <a:solidFill>
                            <a:schemeClr val="bg1"/>
                          </a:solidFill>
                        </a:rPr>
                        <a:t> ПОКАЗАТЕЛИ</a:t>
                      </a:r>
                      <a:endParaRPr lang="ru-RU" sz="9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65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5" name="Таблица 104"/>
          <p:cNvGraphicFramePr>
            <a:graphicFrameLocks noGrp="1"/>
          </p:cNvGraphicFramePr>
          <p:nvPr>
            <p:extLst/>
          </p:nvPr>
        </p:nvGraphicFramePr>
        <p:xfrm>
          <a:off x="381000" y="5484817"/>
          <a:ext cx="4483103" cy="11391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37854"/>
                <a:gridCol w="586694"/>
                <a:gridCol w="529654"/>
                <a:gridCol w="431871"/>
                <a:gridCol w="464466"/>
                <a:gridCol w="415575"/>
                <a:gridCol w="416989"/>
              </a:tblGrid>
              <a:tr h="293114"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ЦЕЛЕВОЙ ПОКАЗАТЕЛЬ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ЕДИНИЦЫ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ИЗМЕРЕНИЯ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ИСХОДНОЕ</a:t>
                      </a:r>
                      <a:r>
                        <a:rPr lang="ru-RU" sz="700" baseline="0" dirty="0" smtClean="0">
                          <a:solidFill>
                            <a:schemeClr val="tx1"/>
                          </a:solidFill>
                        </a:rPr>
                        <a:t> ЗНАЧЕНИЕ</a:t>
                      </a:r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700" dirty="0" smtClean="0">
                          <a:solidFill>
                            <a:schemeClr val="tx1"/>
                          </a:solidFill>
                        </a:rPr>
                        <a:t>20__</a:t>
                      </a:r>
                    </a:p>
                    <a:p>
                      <a:pPr algn="ctr"/>
                      <a:endParaRPr lang="ru-RU" sz="7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8754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27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74278"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buClr>
                          <a:schemeClr val="tx1"/>
                        </a:buClr>
                        <a:buFont typeface="Arial" panose="020B0604020202020204" pitchFamily="34" charset="0"/>
                        <a:buNone/>
                        <a:defRPr/>
                      </a:pPr>
                      <a:endParaRPr lang="ru-RU" sz="6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0" marB="0"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 bwMode="auto">
          <a:xfrm>
            <a:off x="2617472" y="877568"/>
            <a:ext cx="0" cy="1381125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Прямая соединительная линия 107"/>
          <p:cNvCxnSpPr/>
          <p:nvPr/>
        </p:nvCxnSpPr>
        <p:spPr bwMode="auto">
          <a:xfrm>
            <a:off x="4951512" y="882698"/>
            <a:ext cx="0" cy="5723842"/>
          </a:xfrm>
          <a:prstGeom prst="line">
            <a:avLst/>
          </a:prstGeom>
          <a:noFill/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" name="Номер слайда 4"/>
          <p:cNvSpPr txBox="1">
            <a:spLocks/>
          </p:cNvSpPr>
          <p:nvPr/>
        </p:nvSpPr>
        <p:spPr>
          <a:xfrm>
            <a:off x="7237646" y="6412493"/>
            <a:ext cx="2057400" cy="365125"/>
          </a:xfrm>
          <a:prstGeom prst="rect">
            <a:avLst/>
          </a:prstGeom>
        </p:spPr>
        <p:txBody>
          <a:bodyPr vert="horz" lIns="87273" tIns="43636" rIns="87273" bIns="43636" rtlCol="0" anchor="ctr"/>
          <a:lstStyle>
            <a:defPPr>
              <a:defRPr lang="ru-RU"/>
            </a:defPPr>
            <a:lvl1pPr marL="0" algn="r" defTabSz="914373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+mj-lt"/>
                <a:ea typeface="Chevin Pro Light" charset="0"/>
                <a:cs typeface="Chevin Pro Light" charset="0"/>
              </a:defRPr>
            </a:lvl1pPr>
            <a:lvl2pPr marL="45718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7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56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74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933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120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307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494" algn="l" defTabSz="914373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EF660E9-E116-4F2D-91B7-27BAC0D3A970}" type="slidenum">
              <a:rPr lang="ru-RU" sz="857"/>
              <a:pPr/>
              <a:t>9</a:t>
            </a:fld>
            <a:endParaRPr lang="ru-RU" sz="857" dirty="0"/>
          </a:p>
        </p:txBody>
      </p:sp>
      <p:sp>
        <p:nvSpPr>
          <p:cNvPr id="3" name="TextBox 2"/>
          <p:cNvSpPr txBox="1"/>
          <p:nvPr/>
        </p:nvSpPr>
        <p:spPr>
          <a:xfrm>
            <a:off x="4271313" y="168581"/>
            <a:ext cx="2123851" cy="29020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86" dirty="0">
                <a:solidFill>
                  <a:srgbClr val="FF0000"/>
                </a:solidFill>
              </a:rPr>
              <a:t>(</a:t>
            </a:r>
            <a:r>
              <a:rPr lang="ru-RU" sz="1286" dirty="0">
                <a:solidFill>
                  <a:srgbClr val="FF0000"/>
                </a:solidFill>
              </a:rPr>
              <a:t>заполняется опционально)</a:t>
            </a:r>
          </a:p>
        </p:txBody>
      </p:sp>
    </p:spTree>
    <p:extLst>
      <p:ext uri="{BB962C8B-B14F-4D97-AF65-F5344CB8AC3E}">
        <p14:creationId xmlns:p14="http://schemas.microsoft.com/office/powerpoint/2010/main" val="3925636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НТИ 2">
      <a:dk1>
        <a:srgbClr val="0C0C0C"/>
      </a:dk1>
      <a:lt1>
        <a:srgbClr val="FFFFFF"/>
      </a:lt1>
      <a:dk2>
        <a:srgbClr val="003462"/>
      </a:dk2>
      <a:lt2>
        <a:srgbClr val="FFFFFF"/>
      </a:lt2>
      <a:accent1>
        <a:srgbClr val="87A1B2"/>
      </a:accent1>
      <a:accent2>
        <a:srgbClr val="B3CFDE"/>
      </a:accent2>
      <a:accent3>
        <a:srgbClr val="C8B1AC"/>
      </a:accent3>
      <a:accent4>
        <a:srgbClr val="F7593B"/>
      </a:accent4>
      <a:accent5>
        <a:srgbClr val="FFC072"/>
      </a:accent5>
      <a:accent6>
        <a:srgbClr val="D9D9D9"/>
      </a:accent6>
      <a:hlink>
        <a:srgbClr val="8E708F"/>
      </a:hlink>
      <a:folHlink>
        <a:srgbClr val="68BBCB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Тема Office">
  <a:themeElements>
    <a:clrScheme name="НТИ">
      <a:dk1>
        <a:srgbClr val="0C0C0C"/>
      </a:dk1>
      <a:lt1>
        <a:sysClr val="window" lastClr="FFFFFF"/>
      </a:lt1>
      <a:dk2>
        <a:srgbClr val="0C0C0C"/>
      </a:dk2>
      <a:lt2>
        <a:srgbClr val="FFFFFF"/>
      </a:lt2>
      <a:accent1>
        <a:srgbClr val="8E708F"/>
      </a:accent1>
      <a:accent2>
        <a:srgbClr val="71A2C3"/>
      </a:accent2>
      <a:accent3>
        <a:srgbClr val="C8B1AC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4060778A680BE145B3E171F8BCE5FCC2" ma:contentTypeVersion="10" ma:contentTypeDescription="Создание документа." ma:contentTypeScope="" ma:versionID="48cf80f593d2d0fa224fb36be141b76a">
  <xsd:schema xmlns:xsd="http://www.w3.org/2001/XMLSchema" xmlns:xs="http://www.w3.org/2001/XMLSchema" xmlns:p="http://schemas.microsoft.com/office/2006/metadata/properties" xmlns:ns2="69cc3dea-af89-41ea-b8da-7ab11462d30a" xmlns:ns3="d8b453d6-be7a-4931-bedf-235701e60354" targetNamespace="http://schemas.microsoft.com/office/2006/metadata/properties" ma:root="true" ma:fieldsID="5a12abfc72ef197ef8bcff461a1448d9" ns2:_="" ns3:_="">
    <xsd:import namespace="69cc3dea-af89-41ea-b8da-7ab11462d30a"/>
    <xsd:import namespace="d8b453d6-be7a-4931-bedf-235701e60354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EventHashCode" minOccurs="0"/>
                <xsd:element ref="ns3:MediaServiceGenerationTim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cc3dea-af89-41ea-b8da-7ab11462d3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Совместно с подробностями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8b453d6-be7a-4931-bedf-235701e6035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3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D80CA30-6DA9-45CC-B03D-6C7DFE6270DC}"/>
</file>

<file path=customXml/itemProps2.xml><?xml version="1.0" encoding="utf-8"?>
<ds:datastoreItem xmlns:ds="http://schemas.openxmlformats.org/officeDocument/2006/customXml" ds:itemID="{AB0319F3-832D-4CD2-8CE3-1288F9B2FAB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15F2574-6B2D-4151-B4E6-5F2B862C21E6}">
  <ds:schemaRefs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69cc3dea-af89-41ea-b8da-7ab11462d30a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fe20c3be-9348-4de4-bc01-cf2e7faabdf0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</Template>
  <TotalTime>15010</TotalTime>
  <Words>691</Words>
  <Application>Microsoft Office PowerPoint</Application>
  <PresentationFormat>Лист A4 (210x297 мм)</PresentationFormat>
  <Paragraphs>262</Paragraphs>
  <Slides>19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31" baseType="lpstr">
      <vt:lpstr>Arial</vt:lpstr>
      <vt:lpstr>Calibri</vt:lpstr>
      <vt:lpstr>Calibri Light</vt:lpstr>
      <vt:lpstr>Chevin Pro Light</vt:lpstr>
      <vt:lpstr>Chevin Pro Thin</vt:lpstr>
      <vt:lpstr>Helvetica Neue</vt:lpstr>
      <vt:lpstr>Times New Roman</vt:lpstr>
      <vt:lpstr>Wingdings</vt:lpstr>
      <vt:lpstr>Тема Office</vt:lpstr>
      <vt:lpstr>1_Тема Office</vt:lpstr>
      <vt:lpstr>2_Тема Office</vt:lpstr>
      <vt:lpstr>think-cell Slide</vt:lpstr>
      <vt:lpstr>Длинное название проекта ДК «Аэронет» СКВОТ «Большие данные» (3/2019)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РЕЗЮМЕ проекта </vt:lpstr>
      <vt:lpstr>Спасибо за внимание!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  <vt:lpstr>Набор иконок для визуализации моделей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уассонад Георгий Владимирович</dc:creator>
  <cp:lastModifiedBy>Плотников Андрей</cp:lastModifiedBy>
  <cp:revision>352</cp:revision>
  <cp:lastPrinted>2017-09-07T15:28:26Z</cp:lastPrinted>
  <dcterms:created xsi:type="dcterms:W3CDTF">2016-03-23T11:46:06Z</dcterms:created>
  <dcterms:modified xsi:type="dcterms:W3CDTF">2019-06-21T11:37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060778A680BE145B3E171F8BCE5FCC2</vt:lpwstr>
  </property>
</Properties>
</file>